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1" r:id="rId6"/>
  </p:sldMasterIdLst>
  <p:notesMasterIdLst>
    <p:notesMasterId r:id="rId29"/>
  </p:notesMasterIdLst>
  <p:sldIdLst>
    <p:sldId id="2146845378" r:id="rId7"/>
    <p:sldId id="2146845380" r:id="rId8"/>
    <p:sldId id="2134960115" r:id="rId9"/>
    <p:sldId id="2146845355" r:id="rId10"/>
    <p:sldId id="2146845358" r:id="rId11"/>
    <p:sldId id="2146845354" r:id="rId12"/>
    <p:sldId id="2146845360" r:id="rId13"/>
    <p:sldId id="2146845359" r:id="rId14"/>
    <p:sldId id="2146845356" r:id="rId15"/>
    <p:sldId id="2146845361" r:id="rId16"/>
    <p:sldId id="2146845379" r:id="rId17"/>
    <p:sldId id="2146845371" r:id="rId18"/>
    <p:sldId id="2146845362" r:id="rId19"/>
    <p:sldId id="2146845372" r:id="rId20"/>
    <p:sldId id="2146845364" r:id="rId21"/>
    <p:sldId id="2146845366" r:id="rId22"/>
    <p:sldId id="2146845367" r:id="rId23"/>
    <p:sldId id="2146845368" r:id="rId24"/>
    <p:sldId id="2146845369" r:id="rId25"/>
    <p:sldId id="2146845376" r:id="rId26"/>
    <p:sldId id="2146845377" r:id="rId27"/>
    <p:sldId id="2146845375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5B61A9-F42C-4E3D-AB24-B32C150C4589}" v="4543" dt="2021-03-25T14:35:13.1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53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Raynaud" userId="S::alexandre.raynaud@veeva.com::62013f2f-fa8b-4728-ba61-7c17181a1d4e" providerId="AD" clId="Web-{441DFDCC-3A57-C5CC-FAC8-FA4CCE7B8000}"/>
    <pc:docChg chg="modSld">
      <pc:chgData name="Alexandre Raynaud" userId="S::alexandre.raynaud@veeva.com::62013f2f-fa8b-4728-ba61-7c17181a1d4e" providerId="AD" clId="Web-{441DFDCC-3A57-C5CC-FAC8-FA4CCE7B8000}" dt="2021-03-22T07:21:28.108" v="3" actId="20577"/>
      <pc:docMkLst>
        <pc:docMk/>
      </pc:docMkLst>
      <pc:sldChg chg="modSp">
        <pc:chgData name="Alexandre Raynaud" userId="S::alexandre.raynaud@veeva.com::62013f2f-fa8b-4728-ba61-7c17181a1d4e" providerId="AD" clId="Web-{441DFDCC-3A57-C5CC-FAC8-FA4CCE7B8000}" dt="2021-03-22T07:21:28.108" v="3" actId="20577"/>
        <pc:sldMkLst>
          <pc:docMk/>
          <pc:sldMk cId="2367794626" sldId="2134960115"/>
        </pc:sldMkLst>
        <pc:spChg chg="mod">
          <ac:chgData name="Alexandre Raynaud" userId="S::alexandre.raynaud@veeva.com::62013f2f-fa8b-4728-ba61-7c17181a1d4e" providerId="AD" clId="Web-{441DFDCC-3A57-C5CC-FAC8-FA4CCE7B8000}" dt="2021-03-22T07:21:28.108" v="3" actId="20577"/>
          <ac:spMkLst>
            <pc:docMk/>
            <pc:sldMk cId="2367794626" sldId="2134960115"/>
            <ac:spMk id="8" creationId="{F0DEDF2B-2AEF-410B-B775-A0BE9A758D18}"/>
          </ac:spMkLst>
        </pc:spChg>
      </pc:sldChg>
    </pc:docChg>
  </pc:docChgLst>
  <pc:docChgLst>
    <pc:chgData name="Gareth Allott" userId="d67bc1e7-5e6e-4540-bcf9-468a02f7a83e" providerId="ADAL" clId="{675B61A9-F42C-4E3D-AB24-B32C150C4589}"/>
    <pc:docChg chg="undo redo custSel addSld delSld modSld sldOrd">
      <pc:chgData name="Gareth Allott" userId="d67bc1e7-5e6e-4540-bcf9-468a02f7a83e" providerId="ADAL" clId="{675B61A9-F42C-4E3D-AB24-B32C150C4589}" dt="2021-04-05T15:50:24.680" v="9348" actId="313"/>
      <pc:docMkLst>
        <pc:docMk/>
      </pc:docMkLst>
      <pc:sldChg chg="del">
        <pc:chgData name="Gareth Allott" userId="d67bc1e7-5e6e-4540-bcf9-468a02f7a83e" providerId="ADAL" clId="{675B61A9-F42C-4E3D-AB24-B32C150C4589}" dt="2021-03-21T17:40:28.170" v="6085" actId="47"/>
        <pc:sldMkLst>
          <pc:docMk/>
          <pc:sldMk cId="1522906954" sldId="256"/>
        </pc:sldMkLst>
      </pc:sldChg>
      <pc:sldChg chg="modSp mod modTransition">
        <pc:chgData name="Gareth Allott" userId="d67bc1e7-5e6e-4540-bcf9-468a02f7a83e" providerId="ADAL" clId="{675B61A9-F42C-4E3D-AB24-B32C150C4589}" dt="2021-03-21T17:41:05.455" v="6099"/>
        <pc:sldMkLst>
          <pc:docMk/>
          <pc:sldMk cId="2367794626" sldId="2134960115"/>
        </pc:sldMkLst>
        <pc:spChg chg="mod">
          <ac:chgData name="Gareth Allott" userId="d67bc1e7-5e6e-4540-bcf9-468a02f7a83e" providerId="ADAL" clId="{675B61A9-F42C-4E3D-AB24-B32C150C4589}" dt="2021-03-19T18:08:44.208" v="5588" actId="113"/>
          <ac:spMkLst>
            <pc:docMk/>
            <pc:sldMk cId="2367794626" sldId="2134960115"/>
            <ac:spMk id="4" creationId="{97BB78FF-0CC6-E249-BE66-8054D588D936}"/>
          </ac:spMkLst>
        </pc:spChg>
        <pc:spChg chg="mod">
          <ac:chgData name="Gareth Allott" userId="d67bc1e7-5e6e-4540-bcf9-468a02f7a83e" providerId="ADAL" clId="{675B61A9-F42C-4E3D-AB24-B32C150C4589}" dt="2021-03-19T11:24:16.195" v="870" actId="113"/>
          <ac:spMkLst>
            <pc:docMk/>
            <pc:sldMk cId="2367794626" sldId="2134960115"/>
            <ac:spMk id="8" creationId="{F0DEDF2B-2AEF-410B-B775-A0BE9A758D18}"/>
          </ac:spMkLst>
        </pc:spChg>
      </pc:sldChg>
      <pc:sldChg chg="addSp delSp modSp del mod ord">
        <pc:chgData name="Gareth Allott" userId="d67bc1e7-5e6e-4540-bcf9-468a02f7a83e" providerId="ADAL" clId="{675B61A9-F42C-4E3D-AB24-B32C150C4589}" dt="2021-03-19T17:49:56.972" v="4046" actId="47"/>
        <pc:sldMkLst>
          <pc:docMk/>
          <pc:sldMk cId="3283372880" sldId="2146845352"/>
        </pc:sldMkLst>
        <pc:spChg chg="mod">
          <ac:chgData name="Gareth Allott" userId="d67bc1e7-5e6e-4540-bcf9-468a02f7a83e" providerId="ADAL" clId="{675B61A9-F42C-4E3D-AB24-B32C150C4589}" dt="2021-03-19T15:15:44.482" v="2402" actId="21"/>
          <ac:spMkLst>
            <pc:docMk/>
            <pc:sldMk cId="3283372880" sldId="2146845352"/>
            <ac:spMk id="3" creationId="{EB91B23B-A1C7-4076-9B99-05A7B828FC82}"/>
          </ac:spMkLst>
        </pc:spChg>
        <pc:picChg chg="add del mod">
          <ac:chgData name="Gareth Allott" userId="d67bc1e7-5e6e-4540-bcf9-468a02f7a83e" providerId="ADAL" clId="{675B61A9-F42C-4E3D-AB24-B32C150C4589}" dt="2021-03-19T11:13:55.024" v="5" actId="21"/>
          <ac:picMkLst>
            <pc:docMk/>
            <pc:sldMk cId="3283372880" sldId="2146845352"/>
            <ac:picMk id="5" creationId="{FE657679-FA48-4CE3-8018-D79F0B94C630}"/>
          </ac:picMkLst>
        </pc:picChg>
      </pc:sldChg>
      <pc:sldChg chg="del">
        <pc:chgData name="Gareth Allott" userId="d67bc1e7-5e6e-4540-bcf9-468a02f7a83e" providerId="ADAL" clId="{675B61A9-F42C-4E3D-AB24-B32C150C4589}" dt="2021-03-19T11:24:21.653" v="871" actId="47"/>
        <pc:sldMkLst>
          <pc:docMk/>
          <pc:sldMk cId="769180856" sldId="2146845353"/>
        </pc:sldMkLst>
      </pc:sldChg>
      <pc:sldChg chg="addSp delSp modSp new mod modTransition delAnim modAnim">
        <pc:chgData name="Gareth Allott" userId="d67bc1e7-5e6e-4540-bcf9-468a02f7a83e" providerId="ADAL" clId="{675B61A9-F42C-4E3D-AB24-B32C150C4589}" dt="2021-03-21T17:41:05.455" v="6099"/>
        <pc:sldMkLst>
          <pc:docMk/>
          <pc:sldMk cId="723404480" sldId="2146845354"/>
        </pc:sldMkLst>
        <pc:spChg chg="add del">
          <ac:chgData name="Gareth Allott" userId="d67bc1e7-5e6e-4540-bcf9-468a02f7a83e" providerId="ADAL" clId="{675B61A9-F42C-4E3D-AB24-B32C150C4589}" dt="2021-03-19T11:16:33.108" v="108" actId="931"/>
          <ac:spMkLst>
            <pc:docMk/>
            <pc:sldMk cId="723404480" sldId="2146845354"/>
            <ac:spMk id="3" creationId="{1C2FAD10-507B-4327-B76A-2C313B67043B}"/>
          </ac:spMkLst>
        </pc:spChg>
        <pc:spChg chg="add mod">
          <ac:chgData name="Gareth Allott" userId="d67bc1e7-5e6e-4540-bcf9-468a02f7a83e" providerId="ADAL" clId="{675B61A9-F42C-4E3D-AB24-B32C150C4589}" dt="2021-03-19T18:09:32.646" v="5596" actId="1076"/>
          <ac:spMkLst>
            <pc:docMk/>
            <pc:sldMk cId="723404480" sldId="2146845354"/>
            <ac:spMk id="5" creationId="{33279CA1-B656-47A9-9EAD-AD936B9AACFC}"/>
          </ac:spMkLst>
        </pc:spChg>
        <pc:spChg chg="add mod">
          <ac:chgData name="Gareth Allott" userId="d67bc1e7-5e6e-4540-bcf9-468a02f7a83e" providerId="ADAL" clId="{675B61A9-F42C-4E3D-AB24-B32C150C4589}" dt="2021-03-19T12:11:55.007" v="1504" actId="207"/>
          <ac:spMkLst>
            <pc:docMk/>
            <pc:sldMk cId="723404480" sldId="2146845354"/>
            <ac:spMk id="6" creationId="{936033E8-EE77-4763-99D5-806377702814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10" creationId="{BD2EC3DB-7D26-4402-BD3D-4D871CE41547}"/>
          </ac:spMkLst>
        </pc:spChg>
        <pc:spChg chg="add del mod">
          <ac:chgData name="Gareth Allott" userId="d67bc1e7-5e6e-4540-bcf9-468a02f7a83e" providerId="ADAL" clId="{675B61A9-F42C-4E3D-AB24-B32C150C4589}" dt="2021-03-19T18:14:25.504" v="5631" actId="478"/>
          <ac:spMkLst>
            <pc:docMk/>
            <pc:sldMk cId="723404480" sldId="2146845354"/>
            <ac:spMk id="12" creationId="{781CEF35-69CD-4B55-BFAB-27AFAFA09597}"/>
          </ac:spMkLst>
        </pc:spChg>
        <pc:spChg chg="add mod">
          <ac:chgData name="Gareth Allott" userId="d67bc1e7-5e6e-4540-bcf9-468a02f7a83e" providerId="ADAL" clId="{675B61A9-F42C-4E3D-AB24-B32C150C4589}" dt="2021-03-21T10:42:51.843" v="6020" actId="1036"/>
          <ac:spMkLst>
            <pc:docMk/>
            <pc:sldMk cId="723404480" sldId="2146845354"/>
            <ac:spMk id="13" creationId="{F8ED9E3C-B1F2-4EAE-9D90-1FB08BB3786F}"/>
          </ac:spMkLst>
        </pc:spChg>
        <pc:spChg chg="add mod">
          <ac:chgData name="Gareth Allott" userId="d67bc1e7-5e6e-4540-bcf9-468a02f7a83e" providerId="ADAL" clId="{675B61A9-F42C-4E3D-AB24-B32C150C4589}" dt="2021-03-19T11:17:44.155" v="261" actId="1035"/>
          <ac:spMkLst>
            <pc:docMk/>
            <pc:sldMk cId="723404480" sldId="2146845354"/>
            <ac:spMk id="15" creationId="{AF557E73-DA78-4598-AFD3-CFEBB979F877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17" creationId="{10AC10F9-7C55-4189-9D0B-70CADEB7EF63}"/>
          </ac:spMkLst>
        </pc:spChg>
        <pc:spChg chg="add del mod">
          <ac:chgData name="Gareth Allott" userId="d67bc1e7-5e6e-4540-bcf9-468a02f7a83e" providerId="ADAL" clId="{675B61A9-F42C-4E3D-AB24-B32C150C4589}" dt="2021-03-19T11:19:51.830" v="326" actId="478"/>
          <ac:spMkLst>
            <pc:docMk/>
            <pc:sldMk cId="723404480" sldId="2146845354"/>
            <ac:spMk id="17" creationId="{F2EC571B-538A-454A-BDB0-AF5D30952060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18" creationId="{5B36C3B3-7F9A-449A-9730-3E06061406F2}"/>
          </ac:spMkLst>
        </pc:spChg>
        <pc:spChg chg="add del mod">
          <ac:chgData name="Gareth Allott" userId="d67bc1e7-5e6e-4540-bcf9-468a02f7a83e" providerId="ADAL" clId="{675B61A9-F42C-4E3D-AB24-B32C150C4589}" dt="2021-03-19T11:19:51.830" v="326" actId="478"/>
          <ac:spMkLst>
            <pc:docMk/>
            <pc:sldMk cId="723404480" sldId="2146845354"/>
            <ac:spMk id="18" creationId="{74FAA9ED-8FC3-4155-9C9E-00CD6F629982}"/>
          </ac:spMkLst>
        </pc:spChg>
        <pc:spChg chg="add del mod">
          <ac:chgData name="Gareth Allott" userId="d67bc1e7-5e6e-4540-bcf9-468a02f7a83e" providerId="ADAL" clId="{675B61A9-F42C-4E3D-AB24-B32C150C4589}" dt="2021-03-19T11:19:51.830" v="326" actId="478"/>
          <ac:spMkLst>
            <pc:docMk/>
            <pc:sldMk cId="723404480" sldId="2146845354"/>
            <ac:spMk id="19" creationId="{163B26D6-CB40-42F8-B00B-B609ADE7E7DE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19" creationId="{EA62F353-C222-48C9-B64F-3F492864A9C0}"/>
          </ac:spMkLst>
        </pc:spChg>
        <pc:spChg chg="add del mod">
          <ac:chgData name="Gareth Allott" userId="d67bc1e7-5e6e-4540-bcf9-468a02f7a83e" providerId="ADAL" clId="{675B61A9-F42C-4E3D-AB24-B32C150C4589}" dt="2021-03-19T11:19:51.830" v="326" actId="478"/>
          <ac:spMkLst>
            <pc:docMk/>
            <pc:sldMk cId="723404480" sldId="2146845354"/>
            <ac:spMk id="20" creationId="{8925CBAF-D501-44D2-9CBC-62DF3FF0DD31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0" creationId="{DA833700-521A-4A3B-AC4B-3306BC678BFA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1" creationId="{309EF97A-38F2-4417-8A03-E51B4E467F9D}"/>
          </ac:spMkLst>
        </pc:spChg>
        <pc:spChg chg="add del mod">
          <ac:chgData name="Gareth Allott" userId="d67bc1e7-5e6e-4540-bcf9-468a02f7a83e" providerId="ADAL" clId="{675B61A9-F42C-4E3D-AB24-B32C150C4589}" dt="2021-03-19T11:19:51.830" v="326" actId="478"/>
          <ac:spMkLst>
            <pc:docMk/>
            <pc:sldMk cId="723404480" sldId="2146845354"/>
            <ac:spMk id="21" creationId="{BE027590-848D-485F-84E9-4F078E6C337E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2" creationId="{9A697E4D-0B5D-4F0F-8E7E-966D44D3A3D3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3" creationId="{8CA7AE9B-6EED-4FF5-93F9-28BD8871BE4E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4" creationId="{1471A76E-1AFE-4A49-84B5-781DA02621AC}"/>
          </ac:spMkLst>
        </pc:spChg>
        <pc:spChg chg="add del mod">
          <ac:chgData name="Gareth Allott" userId="d67bc1e7-5e6e-4540-bcf9-468a02f7a83e" providerId="ADAL" clId="{675B61A9-F42C-4E3D-AB24-B32C150C4589}" dt="2021-03-21T10:42:32.262" v="5992" actId="478"/>
          <ac:spMkLst>
            <pc:docMk/>
            <pc:sldMk cId="723404480" sldId="2146845354"/>
            <ac:spMk id="25" creationId="{3E464F18-5DDB-4E63-A82F-0DFE659FFB50}"/>
          </ac:spMkLst>
        </pc:spChg>
        <pc:picChg chg="add mod modCrop">
          <ac:chgData name="Gareth Allott" userId="d67bc1e7-5e6e-4540-bcf9-468a02f7a83e" providerId="ADAL" clId="{675B61A9-F42C-4E3D-AB24-B32C150C4589}" dt="2021-03-19T11:16:25.780" v="106" actId="1076"/>
          <ac:picMkLst>
            <pc:docMk/>
            <pc:sldMk cId="723404480" sldId="2146845354"/>
            <ac:picMk id="4" creationId="{D084E296-DEA1-4C14-996B-4C15046A7989}"/>
          </ac:picMkLst>
        </pc:picChg>
        <pc:picChg chg="add del mod">
          <ac:chgData name="Gareth Allott" userId="d67bc1e7-5e6e-4540-bcf9-468a02f7a83e" providerId="ADAL" clId="{675B61A9-F42C-4E3D-AB24-B32C150C4589}" dt="2021-03-19T11:16:19.777" v="103" actId="931"/>
          <ac:picMkLst>
            <pc:docMk/>
            <pc:sldMk cId="723404480" sldId="2146845354"/>
            <ac:picMk id="12" creationId="{DDAA7F93-3DC7-4DD0-AAE4-4B51E4EC0904}"/>
          </ac:picMkLst>
        </pc:picChg>
        <pc:picChg chg="add mod ord">
          <ac:chgData name="Gareth Allott" userId="d67bc1e7-5e6e-4540-bcf9-468a02f7a83e" providerId="ADAL" clId="{675B61A9-F42C-4E3D-AB24-B32C150C4589}" dt="2021-03-21T10:42:51.843" v="6020" actId="1036"/>
          <ac:picMkLst>
            <pc:docMk/>
            <pc:sldMk cId="723404480" sldId="2146845354"/>
            <ac:picMk id="14" creationId="{2E1C4D8D-F710-4A92-B035-CA9423A3604A}"/>
          </ac:picMkLst>
        </pc:picChg>
        <pc:cxnChg chg="add del mod">
          <ac:chgData name="Gareth Allott" userId="d67bc1e7-5e6e-4540-bcf9-468a02f7a83e" providerId="ADAL" clId="{675B61A9-F42C-4E3D-AB24-B32C150C4589}" dt="2021-03-19T18:09:38.573" v="5601" actId="478"/>
          <ac:cxnSpMkLst>
            <pc:docMk/>
            <pc:sldMk cId="723404480" sldId="2146845354"/>
            <ac:cxnSpMk id="7" creationId="{67045C81-76D9-40F0-952B-05E69B95EB10}"/>
          </ac:cxnSpMkLst>
        </pc:cxnChg>
        <pc:cxnChg chg="add mod">
          <ac:chgData name="Gareth Allott" userId="d67bc1e7-5e6e-4540-bcf9-468a02f7a83e" providerId="ADAL" clId="{675B61A9-F42C-4E3D-AB24-B32C150C4589}" dt="2021-03-19T11:17:44.155" v="261" actId="1035"/>
          <ac:cxnSpMkLst>
            <pc:docMk/>
            <pc:sldMk cId="723404480" sldId="2146845354"/>
            <ac:cxnSpMk id="8" creationId="{C39506B6-5D94-4152-A59B-FE6AECB30CAB}"/>
          </ac:cxnSpMkLst>
        </pc:cxnChg>
        <pc:cxnChg chg="add mod">
          <ac:chgData name="Gareth Allott" userId="d67bc1e7-5e6e-4540-bcf9-468a02f7a83e" providerId="ADAL" clId="{675B61A9-F42C-4E3D-AB24-B32C150C4589}" dt="2021-03-19T11:17:44.155" v="261" actId="1035"/>
          <ac:cxnSpMkLst>
            <pc:docMk/>
            <pc:sldMk cId="723404480" sldId="2146845354"/>
            <ac:cxnSpMk id="16" creationId="{4E2D8F17-A1AA-48FD-ADA1-E2B76216932E}"/>
          </ac:cxnSpMkLst>
        </pc:cxnChg>
      </pc:sldChg>
      <pc:sldChg chg="addSp delSp modSp new mod modTransition modClrScheme chgLayout">
        <pc:chgData name="Gareth Allott" userId="d67bc1e7-5e6e-4540-bcf9-468a02f7a83e" providerId="ADAL" clId="{675B61A9-F42C-4E3D-AB24-B32C150C4589}" dt="2021-03-23T11:59:29.748" v="6528" actId="20577"/>
        <pc:sldMkLst>
          <pc:docMk/>
          <pc:sldMk cId="925372949" sldId="2146845355"/>
        </pc:sldMkLst>
        <pc:spChg chg="del mod ord">
          <ac:chgData name="Gareth Allott" userId="d67bc1e7-5e6e-4540-bcf9-468a02f7a83e" providerId="ADAL" clId="{675B61A9-F42C-4E3D-AB24-B32C150C4589}" dt="2021-03-19T11:24:36.900" v="874" actId="700"/>
          <ac:spMkLst>
            <pc:docMk/>
            <pc:sldMk cId="925372949" sldId="2146845355"/>
            <ac:spMk id="2" creationId="{2875B5F2-B06C-4AB3-B69B-FA1164F44090}"/>
          </ac:spMkLst>
        </pc:spChg>
        <pc:spChg chg="del mod ord">
          <ac:chgData name="Gareth Allott" userId="d67bc1e7-5e6e-4540-bcf9-468a02f7a83e" providerId="ADAL" clId="{675B61A9-F42C-4E3D-AB24-B32C150C4589}" dt="2021-03-19T11:24:36.900" v="874" actId="700"/>
          <ac:spMkLst>
            <pc:docMk/>
            <pc:sldMk cId="925372949" sldId="2146845355"/>
            <ac:spMk id="3" creationId="{75AFA602-0637-4E0A-A074-BFFE3D30C474}"/>
          </ac:spMkLst>
        </pc:spChg>
        <pc:spChg chg="add mod ord">
          <ac:chgData name="Gareth Allott" userId="d67bc1e7-5e6e-4540-bcf9-468a02f7a83e" providerId="ADAL" clId="{675B61A9-F42C-4E3D-AB24-B32C150C4589}" dt="2021-03-19T11:28:40.116" v="1382" actId="1076"/>
          <ac:spMkLst>
            <pc:docMk/>
            <pc:sldMk cId="925372949" sldId="2146845355"/>
            <ac:spMk id="4" creationId="{26BCEB5F-BF69-43F7-B4AA-616B55890922}"/>
          </ac:spMkLst>
        </pc:spChg>
        <pc:spChg chg="add del mod ord">
          <ac:chgData name="Gareth Allott" userId="d67bc1e7-5e6e-4540-bcf9-468a02f7a83e" providerId="ADAL" clId="{675B61A9-F42C-4E3D-AB24-B32C150C4589}" dt="2021-03-19T11:25:19.221" v="893" actId="931"/>
          <ac:spMkLst>
            <pc:docMk/>
            <pc:sldMk cId="925372949" sldId="2146845355"/>
            <ac:spMk id="5" creationId="{6425199F-0422-4122-BF42-5C8C490484FA}"/>
          </ac:spMkLst>
        </pc:spChg>
        <pc:spChg chg="add del mod">
          <ac:chgData name="Gareth Allott" userId="d67bc1e7-5e6e-4540-bcf9-468a02f7a83e" providerId="ADAL" clId="{675B61A9-F42C-4E3D-AB24-B32C150C4589}" dt="2021-03-19T11:25:27.015" v="895" actId="478"/>
          <ac:spMkLst>
            <pc:docMk/>
            <pc:sldMk cId="925372949" sldId="2146845355"/>
            <ac:spMk id="9" creationId="{139DF071-D8E4-4E88-8AD4-B5A80A9556D6}"/>
          </ac:spMkLst>
        </pc:spChg>
        <pc:spChg chg="add mod">
          <ac:chgData name="Gareth Allott" userId="d67bc1e7-5e6e-4540-bcf9-468a02f7a83e" providerId="ADAL" clId="{675B61A9-F42C-4E3D-AB24-B32C150C4589}" dt="2021-03-19T11:26:29.349" v="1011" actId="1035"/>
          <ac:spMkLst>
            <pc:docMk/>
            <pc:sldMk cId="925372949" sldId="2146845355"/>
            <ac:spMk id="10" creationId="{1B8F5F8C-345B-47E9-805F-67AACCC3F1B9}"/>
          </ac:spMkLst>
        </pc:spChg>
        <pc:spChg chg="add mod">
          <ac:chgData name="Gareth Allott" userId="d67bc1e7-5e6e-4540-bcf9-468a02f7a83e" providerId="ADAL" clId="{675B61A9-F42C-4E3D-AB24-B32C150C4589}" dt="2021-03-19T11:26:29.349" v="1011" actId="1035"/>
          <ac:spMkLst>
            <pc:docMk/>
            <pc:sldMk cId="925372949" sldId="2146845355"/>
            <ac:spMk id="11" creationId="{1395A5A6-105C-41CD-8711-4BFD8E1D3F42}"/>
          </ac:spMkLst>
        </pc:spChg>
        <pc:spChg chg="add mod">
          <ac:chgData name="Gareth Allott" userId="d67bc1e7-5e6e-4540-bcf9-468a02f7a83e" providerId="ADAL" clId="{675B61A9-F42C-4E3D-AB24-B32C150C4589}" dt="2021-03-19T11:27:09.676" v="1146" actId="113"/>
          <ac:spMkLst>
            <pc:docMk/>
            <pc:sldMk cId="925372949" sldId="2146845355"/>
            <ac:spMk id="12" creationId="{EFCB597C-053D-4343-A1A9-A704EE840FDF}"/>
          </ac:spMkLst>
        </pc:spChg>
        <pc:spChg chg="add mod">
          <ac:chgData name="Gareth Allott" userId="d67bc1e7-5e6e-4540-bcf9-468a02f7a83e" providerId="ADAL" clId="{675B61A9-F42C-4E3D-AB24-B32C150C4589}" dt="2021-03-19T11:28:30.338" v="1381" actId="1035"/>
          <ac:spMkLst>
            <pc:docMk/>
            <pc:sldMk cId="925372949" sldId="2146845355"/>
            <ac:spMk id="13" creationId="{7F8EBAB2-9A85-4879-A799-818F9743AFA7}"/>
          </ac:spMkLst>
        </pc:spChg>
        <pc:spChg chg="add del mod">
          <ac:chgData name="Gareth Allott" userId="d67bc1e7-5e6e-4540-bcf9-468a02f7a83e" providerId="ADAL" clId="{675B61A9-F42C-4E3D-AB24-B32C150C4589}" dt="2021-03-19T11:28:48.850" v="1385" actId="478"/>
          <ac:spMkLst>
            <pc:docMk/>
            <pc:sldMk cId="925372949" sldId="2146845355"/>
            <ac:spMk id="16" creationId="{4EB6210E-80C5-4040-8948-179CEB5082E6}"/>
          </ac:spMkLst>
        </pc:spChg>
        <pc:spChg chg="add mod">
          <ac:chgData name="Gareth Allott" userId="d67bc1e7-5e6e-4540-bcf9-468a02f7a83e" providerId="ADAL" clId="{675B61A9-F42C-4E3D-AB24-B32C150C4589}" dt="2021-03-23T11:59:26.571" v="6522" actId="20577"/>
          <ac:spMkLst>
            <pc:docMk/>
            <pc:sldMk cId="925372949" sldId="2146845355"/>
            <ac:spMk id="17" creationId="{591CE02D-B07F-454C-871B-6A8FD24B0E11}"/>
          </ac:spMkLst>
        </pc:spChg>
        <pc:spChg chg="add mod">
          <ac:chgData name="Gareth Allott" userId="d67bc1e7-5e6e-4540-bcf9-468a02f7a83e" providerId="ADAL" clId="{675B61A9-F42C-4E3D-AB24-B32C150C4589}" dt="2021-03-23T11:59:29.748" v="6528" actId="20577"/>
          <ac:spMkLst>
            <pc:docMk/>
            <pc:sldMk cId="925372949" sldId="2146845355"/>
            <ac:spMk id="18" creationId="{5E116D70-34BE-401F-B257-E8F4C6BB37F8}"/>
          </ac:spMkLst>
        </pc:spChg>
        <pc:picChg chg="add del mod">
          <ac:chgData name="Gareth Allott" userId="d67bc1e7-5e6e-4540-bcf9-468a02f7a83e" providerId="ADAL" clId="{675B61A9-F42C-4E3D-AB24-B32C150C4589}" dt="2021-03-19T11:25:25.100" v="894" actId="478"/>
          <ac:picMkLst>
            <pc:docMk/>
            <pc:sldMk cId="925372949" sldId="2146845355"/>
            <ac:picMk id="7" creationId="{C1695322-20D5-4EBA-950F-C3A5ECA8E939}"/>
          </ac:picMkLst>
        </pc:picChg>
        <pc:picChg chg="add del mod">
          <ac:chgData name="Gareth Allott" userId="d67bc1e7-5e6e-4540-bcf9-468a02f7a83e" providerId="ADAL" clId="{675B61A9-F42C-4E3D-AB24-B32C150C4589}" dt="2021-03-19T11:28:46.398" v="1384" actId="478"/>
          <ac:picMkLst>
            <pc:docMk/>
            <pc:sldMk cId="925372949" sldId="2146845355"/>
            <ac:picMk id="14" creationId="{5506F03D-B79C-4060-94D1-D6B8CF5BCCA7}"/>
          </ac:picMkLst>
        </pc:picChg>
      </pc:sldChg>
      <pc:sldChg chg="addSp delSp modSp add mod modTransition">
        <pc:chgData name="Gareth Allott" userId="d67bc1e7-5e6e-4540-bcf9-468a02f7a83e" providerId="ADAL" clId="{675B61A9-F42C-4E3D-AB24-B32C150C4589}" dt="2021-03-21T17:41:05.455" v="6099"/>
        <pc:sldMkLst>
          <pc:docMk/>
          <pc:sldMk cId="1320485726" sldId="2146845356"/>
        </pc:sldMkLst>
        <pc:spChg chg="add del">
          <ac:chgData name="Gareth Allott" userId="d67bc1e7-5e6e-4540-bcf9-468a02f7a83e" providerId="ADAL" clId="{675B61A9-F42C-4E3D-AB24-B32C150C4589}" dt="2021-03-19T17:27:32.894" v="2952" actId="478"/>
          <ac:spMkLst>
            <pc:docMk/>
            <pc:sldMk cId="1320485726" sldId="2146845356"/>
            <ac:spMk id="5" creationId="{33279CA1-B656-47A9-9EAD-AD936B9AACFC}"/>
          </ac:spMkLst>
        </pc:spChg>
        <pc:spChg chg="mod">
          <ac:chgData name="Gareth Allott" userId="d67bc1e7-5e6e-4540-bcf9-468a02f7a83e" providerId="ADAL" clId="{675B61A9-F42C-4E3D-AB24-B32C150C4589}" dt="2021-03-19T12:11:52.106" v="1503" actId="207"/>
          <ac:spMkLst>
            <pc:docMk/>
            <pc:sldMk cId="1320485726" sldId="2146845356"/>
            <ac:spMk id="6" creationId="{936033E8-EE77-4763-99D5-806377702814}"/>
          </ac:spMkLst>
        </pc:spChg>
        <pc:spChg chg="add del mod">
          <ac:chgData name="Gareth Allott" userId="d67bc1e7-5e6e-4540-bcf9-468a02f7a83e" providerId="ADAL" clId="{675B61A9-F42C-4E3D-AB24-B32C150C4589}" dt="2021-03-19T17:27:35.386" v="2953" actId="478"/>
          <ac:spMkLst>
            <pc:docMk/>
            <pc:sldMk cId="1320485726" sldId="2146845356"/>
            <ac:spMk id="7" creationId="{6A67352D-EFDF-476F-9418-76518CE505AC}"/>
          </ac:spMkLst>
        </pc:spChg>
        <pc:spChg chg="del mod">
          <ac:chgData name="Gareth Allott" userId="d67bc1e7-5e6e-4540-bcf9-468a02f7a83e" providerId="ADAL" clId="{675B61A9-F42C-4E3D-AB24-B32C150C4589}" dt="2021-03-19T17:27:26.223" v="2950" actId="478"/>
          <ac:spMkLst>
            <pc:docMk/>
            <pc:sldMk cId="1320485726" sldId="2146845356"/>
            <ac:spMk id="10" creationId="{BD2EC3DB-7D26-4402-BD3D-4D871CE41547}"/>
          </ac:spMkLst>
        </pc:spChg>
        <pc:spChg chg="mod">
          <ac:chgData name="Gareth Allott" userId="d67bc1e7-5e6e-4540-bcf9-468a02f7a83e" providerId="ADAL" clId="{675B61A9-F42C-4E3D-AB24-B32C150C4589}" dt="2021-03-19T12:11:37.485" v="1502" actId="20577"/>
          <ac:spMkLst>
            <pc:docMk/>
            <pc:sldMk cId="1320485726" sldId="2146845356"/>
            <ac:spMk id="15" creationId="{AF557E73-DA78-4598-AFD3-CFEBB979F877}"/>
          </ac:spMkLst>
        </pc:spChg>
        <pc:picChg chg="del">
          <ac:chgData name="Gareth Allott" userId="d67bc1e7-5e6e-4540-bcf9-468a02f7a83e" providerId="ADAL" clId="{675B61A9-F42C-4E3D-AB24-B32C150C4589}" dt="2021-03-19T17:27:26.223" v="2950" actId="478"/>
          <ac:picMkLst>
            <pc:docMk/>
            <pc:sldMk cId="1320485726" sldId="2146845356"/>
            <ac:picMk id="14" creationId="{2E1C4D8D-F710-4A92-B035-CA9423A3604A}"/>
          </ac:picMkLst>
        </pc:picChg>
        <pc:cxnChg chg="add del mod">
          <ac:chgData name="Gareth Allott" userId="d67bc1e7-5e6e-4540-bcf9-468a02f7a83e" providerId="ADAL" clId="{675B61A9-F42C-4E3D-AB24-B32C150C4589}" dt="2021-03-19T18:08:02.638" v="5573"/>
          <ac:cxnSpMkLst>
            <pc:docMk/>
            <pc:sldMk cId="1320485726" sldId="2146845356"/>
            <ac:cxnSpMk id="13" creationId="{DD2F0E26-95AD-45B4-AC3B-CF6DCA9115A8}"/>
          </ac:cxnSpMkLst>
        </pc:cxnChg>
      </pc:sldChg>
      <pc:sldChg chg="addSp delSp modSp add del mod">
        <pc:chgData name="Gareth Allott" userId="d67bc1e7-5e6e-4540-bcf9-468a02f7a83e" providerId="ADAL" clId="{675B61A9-F42C-4E3D-AB24-B32C150C4589}" dt="2021-03-19T18:02:34.778" v="5247" actId="47"/>
        <pc:sldMkLst>
          <pc:docMk/>
          <pc:sldMk cId="2290299421" sldId="2146845357"/>
        </pc:sldMkLst>
        <pc:spChg chg="mod">
          <ac:chgData name="Gareth Allott" userId="d67bc1e7-5e6e-4540-bcf9-468a02f7a83e" providerId="ADAL" clId="{675B61A9-F42C-4E3D-AB24-B32C150C4589}" dt="2021-03-19T15:02:44.105" v="1552" actId="20577"/>
          <ac:spMkLst>
            <pc:docMk/>
            <pc:sldMk cId="2290299421" sldId="2146845357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8:01:14.572" v="5182" actId="400"/>
          <ac:spMkLst>
            <pc:docMk/>
            <pc:sldMk cId="2290299421" sldId="2146845357"/>
            <ac:spMk id="3" creationId="{EB91B23B-A1C7-4076-9B99-05A7B828FC82}"/>
          </ac:spMkLst>
        </pc:spChg>
        <pc:picChg chg="add del mod">
          <ac:chgData name="Gareth Allott" userId="d67bc1e7-5e6e-4540-bcf9-468a02f7a83e" providerId="ADAL" clId="{675B61A9-F42C-4E3D-AB24-B32C150C4589}" dt="2021-03-19T15:23:49.438" v="2949" actId="478"/>
          <ac:picMkLst>
            <pc:docMk/>
            <pc:sldMk cId="2290299421" sldId="2146845357"/>
            <ac:picMk id="5" creationId="{48CE44BC-ADD6-4205-86C2-662E5246C6B6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3T12:11:10.733" v="6654" actId="122"/>
        <pc:sldMkLst>
          <pc:docMk/>
          <pc:sldMk cId="1714525040" sldId="2146845358"/>
        </pc:sldMkLst>
        <pc:spChg chg="add mod">
          <ac:chgData name="Gareth Allott" userId="d67bc1e7-5e6e-4540-bcf9-468a02f7a83e" providerId="ADAL" clId="{675B61A9-F42C-4E3D-AB24-B32C150C4589}" dt="2021-03-23T12:11:10.733" v="6654" actId="122"/>
          <ac:spMkLst>
            <pc:docMk/>
            <pc:sldMk cId="1714525040" sldId="2146845358"/>
            <ac:spMk id="2" creationId="{D532B843-70C8-4AC0-84DD-080B4E2D61F9}"/>
          </ac:spMkLst>
        </pc:spChg>
        <pc:spChg chg="mod">
          <ac:chgData name="Gareth Allott" userId="d67bc1e7-5e6e-4540-bcf9-468a02f7a83e" providerId="ADAL" clId="{675B61A9-F42C-4E3D-AB24-B32C150C4589}" dt="2021-03-19T17:28:17.339" v="2982" actId="20577"/>
          <ac:spMkLst>
            <pc:docMk/>
            <pc:sldMk cId="1714525040" sldId="2146845358"/>
            <ac:spMk id="3" creationId="{B49D0526-A0C4-2441-865A-E69D4C890FAF}"/>
          </ac:spMkLst>
        </pc:spChg>
        <pc:spChg chg="mod">
          <ac:chgData name="Gareth Allott" userId="d67bc1e7-5e6e-4540-bcf9-468a02f7a83e" providerId="ADAL" clId="{675B61A9-F42C-4E3D-AB24-B32C150C4589}" dt="2021-03-19T17:38:30.151" v="3695" actId="20577"/>
          <ac:spMkLst>
            <pc:docMk/>
            <pc:sldMk cId="1714525040" sldId="2146845358"/>
            <ac:spMk id="4" creationId="{97BB78FF-0CC6-E249-BE66-8054D588D936}"/>
          </ac:spMkLst>
        </pc:spChg>
        <pc:spChg chg="add mod">
          <ac:chgData name="Gareth Allott" userId="d67bc1e7-5e6e-4540-bcf9-468a02f7a83e" providerId="ADAL" clId="{675B61A9-F42C-4E3D-AB24-B32C150C4589}" dt="2021-03-19T17:34:06.596" v="3298" actId="113"/>
          <ac:spMkLst>
            <pc:docMk/>
            <pc:sldMk cId="1714525040" sldId="2146845358"/>
            <ac:spMk id="7" creationId="{6516A85F-452A-4BDF-8E3A-9478E7538FA4}"/>
          </ac:spMkLst>
        </pc:spChg>
        <pc:spChg chg="mod">
          <ac:chgData name="Gareth Allott" userId="d67bc1e7-5e6e-4540-bcf9-468a02f7a83e" providerId="ADAL" clId="{675B61A9-F42C-4E3D-AB24-B32C150C4589}" dt="2021-03-23T12:08:23.143" v="6550" actId="20577"/>
          <ac:spMkLst>
            <pc:docMk/>
            <pc:sldMk cId="1714525040" sldId="2146845358"/>
            <ac:spMk id="8" creationId="{F0DEDF2B-2AEF-410B-B775-A0BE9A758D18}"/>
          </ac:spMkLst>
        </pc:spChg>
        <pc:spChg chg="mod">
          <ac:chgData name="Gareth Allott" userId="d67bc1e7-5e6e-4540-bcf9-468a02f7a83e" providerId="ADAL" clId="{675B61A9-F42C-4E3D-AB24-B32C150C4589}" dt="2021-03-19T17:34:33.203" v="3330" actId="1037"/>
          <ac:spMkLst>
            <pc:docMk/>
            <pc:sldMk cId="1714525040" sldId="2146845358"/>
            <ac:spMk id="9" creationId="{489FA5FF-8180-48C4-A5D8-29987055A2C6}"/>
          </ac:spMkLst>
        </pc:spChg>
        <pc:spChg chg="add mod">
          <ac:chgData name="Gareth Allott" userId="d67bc1e7-5e6e-4540-bcf9-468a02f7a83e" providerId="ADAL" clId="{675B61A9-F42C-4E3D-AB24-B32C150C4589}" dt="2021-03-19T17:35:14.472" v="3389" actId="207"/>
          <ac:spMkLst>
            <pc:docMk/>
            <pc:sldMk cId="1714525040" sldId="2146845358"/>
            <ac:spMk id="10" creationId="{329A4672-687C-4B87-AD6C-B3E979ED9A8A}"/>
          </ac:spMkLst>
        </pc:spChg>
      </pc:sldChg>
      <pc:sldChg chg="new del">
        <pc:chgData name="Gareth Allott" userId="d67bc1e7-5e6e-4540-bcf9-468a02f7a83e" providerId="ADAL" clId="{675B61A9-F42C-4E3D-AB24-B32C150C4589}" dt="2021-03-19T17:28:09.132" v="2957" actId="47"/>
        <pc:sldMkLst>
          <pc:docMk/>
          <pc:sldMk cId="3483116244" sldId="2146845358"/>
        </pc:sldMkLst>
      </pc:sldChg>
      <pc:sldChg chg="addSp delSp modSp add mod modTransition">
        <pc:chgData name="Gareth Allott" userId="d67bc1e7-5e6e-4540-bcf9-468a02f7a83e" providerId="ADAL" clId="{675B61A9-F42C-4E3D-AB24-B32C150C4589}" dt="2021-03-23T12:30:22.167" v="7232" actId="20577"/>
        <pc:sldMkLst>
          <pc:docMk/>
          <pc:sldMk cId="2782291062" sldId="2146845359"/>
        </pc:sldMkLst>
        <pc:spChg chg="del mod">
          <ac:chgData name="Gareth Allott" userId="d67bc1e7-5e6e-4540-bcf9-468a02f7a83e" providerId="ADAL" clId="{675B61A9-F42C-4E3D-AB24-B32C150C4589}" dt="2021-03-19T17:44:37.865" v="3777" actId="478"/>
          <ac:spMkLst>
            <pc:docMk/>
            <pc:sldMk cId="2782291062" sldId="2146845359"/>
            <ac:spMk id="2" creationId="{ED2FC044-BEDA-42E8-913B-B30EC113F11D}"/>
          </ac:spMkLst>
        </pc:spChg>
        <pc:spChg chg="del">
          <ac:chgData name="Gareth Allott" userId="d67bc1e7-5e6e-4540-bcf9-468a02f7a83e" providerId="ADAL" clId="{675B61A9-F42C-4E3D-AB24-B32C150C4589}" dt="2021-03-19T17:39:26.848" v="3715" actId="478"/>
          <ac:spMkLst>
            <pc:docMk/>
            <pc:sldMk cId="2782291062" sldId="2146845359"/>
            <ac:spMk id="3" creationId="{EB91B23B-A1C7-4076-9B99-05A7B828FC82}"/>
          </ac:spMkLst>
        </pc:spChg>
        <pc:spChg chg="add del mod">
          <ac:chgData name="Gareth Allott" userId="d67bc1e7-5e6e-4540-bcf9-468a02f7a83e" providerId="ADAL" clId="{675B61A9-F42C-4E3D-AB24-B32C150C4589}" dt="2021-03-19T17:39:30.677" v="3716" actId="478"/>
          <ac:spMkLst>
            <pc:docMk/>
            <pc:sldMk cId="2782291062" sldId="2146845359"/>
            <ac:spMk id="5" creationId="{66DCEC0E-D527-4347-BC9B-F13D34F9DEB7}"/>
          </ac:spMkLst>
        </pc:spChg>
        <pc:spChg chg="add del mod">
          <ac:chgData name="Gareth Allott" userId="d67bc1e7-5e6e-4540-bcf9-468a02f7a83e" providerId="ADAL" clId="{675B61A9-F42C-4E3D-AB24-B32C150C4589}" dt="2021-03-19T17:44:43.905" v="3780" actId="478"/>
          <ac:spMkLst>
            <pc:docMk/>
            <pc:sldMk cId="2782291062" sldId="2146845359"/>
            <ac:spMk id="8" creationId="{A1557C07-3326-4855-B1F7-684157EF26F7}"/>
          </ac:spMkLst>
        </pc:spChg>
        <pc:spChg chg="add del mod">
          <ac:chgData name="Gareth Allott" userId="d67bc1e7-5e6e-4540-bcf9-468a02f7a83e" providerId="ADAL" clId="{675B61A9-F42C-4E3D-AB24-B32C150C4589}" dt="2021-03-19T17:44:43.905" v="3780" actId="478"/>
          <ac:spMkLst>
            <pc:docMk/>
            <pc:sldMk cId="2782291062" sldId="2146845359"/>
            <ac:spMk id="9" creationId="{63B855D8-B60A-449A-B3EF-7C7871866F5E}"/>
          </ac:spMkLst>
        </pc:spChg>
        <pc:spChg chg="add del mod">
          <ac:chgData name="Gareth Allott" userId="d67bc1e7-5e6e-4540-bcf9-468a02f7a83e" providerId="ADAL" clId="{675B61A9-F42C-4E3D-AB24-B32C150C4589}" dt="2021-03-19T17:44:40.257" v="3778" actId="478"/>
          <ac:spMkLst>
            <pc:docMk/>
            <pc:sldMk cId="2782291062" sldId="2146845359"/>
            <ac:spMk id="11" creationId="{E783E034-D8CB-4C2A-A106-E02EEA441FA4}"/>
          </ac:spMkLst>
        </pc:spChg>
        <pc:spChg chg="add mod">
          <ac:chgData name="Gareth Allott" userId="d67bc1e7-5e6e-4540-bcf9-468a02f7a83e" providerId="ADAL" clId="{675B61A9-F42C-4E3D-AB24-B32C150C4589}" dt="2021-03-19T17:45:10.511" v="3827" actId="20577"/>
          <ac:spMkLst>
            <pc:docMk/>
            <pc:sldMk cId="2782291062" sldId="2146845359"/>
            <ac:spMk id="12" creationId="{D782696E-A289-4B78-BFBA-79E60C69C764}"/>
          </ac:spMkLst>
        </pc:spChg>
        <pc:spChg chg="add mod">
          <ac:chgData name="Gareth Allott" userId="d67bc1e7-5e6e-4540-bcf9-468a02f7a83e" providerId="ADAL" clId="{675B61A9-F42C-4E3D-AB24-B32C150C4589}" dt="2021-03-19T18:09:00.502" v="5590" actId="20577"/>
          <ac:spMkLst>
            <pc:docMk/>
            <pc:sldMk cId="2782291062" sldId="2146845359"/>
            <ac:spMk id="15" creationId="{9011388F-F8DF-4BDC-9A5D-42D0E3AC7BE5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16" creationId="{F14898A9-7B1B-490D-89C2-64CBEBEF4C47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17" creationId="{722719B3-D021-4712-9D07-A02928467CF2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18" creationId="{488AEDEF-A40B-4FB9-96F2-260F7B1F7F9D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19" creationId="{6A89A209-B294-48D9-9E56-FBABD9FB23F2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0" creationId="{67CC800B-A6B1-4A20-AA56-4D9221814B42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1" creationId="{AE942FFB-DB28-43B2-A1E7-AAE935D5878E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2" creationId="{038CC5DC-0E38-4B49-941D-504D0F08517B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3" creationId="{93CE8967-ED83-455C-9A65-94AA00F23135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4" creationId="{4A3C5688-521D-4F7E-ABEA-A4B26F746D73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5" creationId="{C2503EAB-AB67-4343-AA40-57E772A19547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6" creationId="{1DD5FC29-5095-45DB-96A1-7B26E6B77D45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7" creationId="{F646EDD6-34F1-476D-865E-36745B57E30A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8" creationId="{2C16143B-C07C-4556-9FB3-DC840AA7122C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29" creationId="{287CE739-88A9-49B6-8C50-5B59251C7D8F}"/>
          </ac:spMkLst>
        </pc:spChg>
        <pc:spChg chg="add del mod">
          <ac:chgData name="Gareth Allott" userId="d67bc1e7-5e6e-4540-bcf9-468a02f7a83e" providerId="ADAL" clId="{675B61A9-F42C-4E3D-AB24-B32C150C4589}" dt="2021-03-19T17:45:27.898" v="3829"/>
          <ac:spMkLst>
            <pc:docMk/>
            <pc:sldMk cId="2782291062" sldId="2146845359"/>
            <ac:spMk id="30" creationId="{73685822-9688-4BB3-9000-C32F2554C6D5}"/>
          </ac:spMkLst>
        </pc:spChg>
        <pc:spChg chg="add mod">
          <ac:chgData name="Gareth Allott" userId="d67bc1e7-5e6e-4540-bcf9-468a02f7a83e" providerId="ADAL" clId="{675B61A9-F42C-4E3D-AB24-B32C150C4589}" dt="2021-03-19T17:45:41.984" v="3832" actId="208"/>
          <ac:spMkLst>
            <pc:docMk/>
            <pc:sldMk cId="2782291062" sldId="2146845359"/>
            <ac:spMk id="31" creationId="{75A69C5A-D919-44AE-B52E-F714247E2B96}"/>
          </ac:spMkLst>
        </pc:spChg>
        <pc:spChg chg="add mod">
          <ac:chgData name="Gareth Allott" userId="d67bc1e7-5e6e-4540-bcf9-468a02f7a83e" providerId="ADAL" clId="{675B61A9-F42C-4E3D-AB24-B32C150C4589}" dt="2021-03-19T17:46:29.991" v="3926" actId="20577"/>
          <ac:spMkLst>
            <pc:docMk/>
            <pc:sldMk cId="2782291062" sldId="2146845359"/>
            <ac:spMk id="32" creationId="{93A9E911-949B-4A5B-8B79-9EC3E2E40DCB}"/>
          </ac:spMkLst>
        </pc:spChg>
        <pc:spChg chg="add mod">
          <ac:chgData name="Gareth Allott" userId="d67bc1e7-5e6e-4540-bcf9-468a02f7a83e" providerId="ADAL" clId="{675B61A9-F42C-4E3D-AB24-B32C150C4589}" dt="2021-03-19T17:46:34.274" v="3927" actId="207"/>
          <ac:spMkLst>
            <pc:docMk/>
            <pc:sldMk cId="2782291062" sldId="2146845359"/>
            <ac:spMk id="33" creationId="{1C7E5659-C374-4E33-B8D3-60F5D80D15C0}"/>
          </ac:spMkLst>
        </pc:spChg>
        <pc:spChg chg="add mod">
          <ac:chgData name="Gareth Allott" userId="d67bc1e7-5e6e-4540-bcf9-468a02f7a83e" providerId="ADAL" clId="{675B61A9-F42C-4E3D-AB24-B32C150C4589}" dt="2021-03-22T10:36:35.083" v="6115" actId="1076"/>
          <ac:spMkLst>
            <pc:docMk/>
            <pc:sldMk cId="2782291062" sldId="2146845359"/>
            <ac:spMk id="34" creationId="{B454A5D6-9790-4CCB-9D9A-087099D91EF6}"/>
          </ac:spMkLst>
        </pc:spChg>
        <pc:spChg chg="add mod">
          <ac:chgData name="Gareth Allott" userId="d67bc1e7-5e6e-4540-bcf9-468a02f7a83e" providerId="ADAL" clId="{675B61A9-F42C-4E3D-AB24-B32C150C4589}" dt="2021-03-19T17:47:10.206" v="3941"/>
          <ac:spMkLst>
            <pc:docMk/>
            <pc:sldMk cId="2782291062" sldId="2146845359"/>
            <ac:spMk id="35" creationId="{1FD0230D-DE25-4528-9C89-13778665B03D}"/>
          </ac:spMkLst>
        </pc:spChg>
        <pc:spChg chg="add mod">
          <ac:chgData name="Gareth Allott" userId="d67bc1e7-5e6e-4540-bcf9-468a02f7a83e" providerId="ADAL" clId="{675B61A9-F42C-4E3D-AB24-B32C150C4589}" dt="2021-03-22T10:36:34.805" v="6114" actId="1076"/>
          <ac:spMkLst>
            <pc:docMk/>
            <pc:sldMk cId="2782291062" sldId="2146845359"/>
            <ac:spMk id="36" creationId="{D7F66A7A-EC91-45F1-9551-A199502ED9BB}"/>
          </ac:spMkLst>
        </pc:spChg>
        <pc:spChg chg="add mod">
          <ac:chgData name="Gareth Allott" userId="d67bc1e7-5e6e-4540-bcf9-468a02f7a83e" providerId="ADAL" clId="{675B61A9-F42C-4E3D-AB24-B32C150C4589}" dt="2021-03-19T17:47:31.084" v="3948"/>
          <ac:spMkLst>
            <pc:docMk/>
            <pc:sldMk cId="2782291062" sldId="2146845359"/>
            <ac:spMk id="37" creationId="{9E24AA5D-F77F-44F9-A7BA-97015E05E368}"/>
          </ac:spMkLst>
        </pc:spChg>
        <pc:spChg chg="add mod">
          <ac:chgData name="Gareth Allott" userId="d67bc1e7-5e6e-4540-bcf9-468a02f7a83e" providerId="ADAL" clId="{675B61A9-F42C-4E3D-AB24-B32C150C4589}" dt="2021-03-19T17:47:50.231" v="3958"/>
          <ac:spMkLst>
            <pc:docMk/>
            <pc:sldMk cId="2782291062" sldId="2146845359"/>
            <ac:spMk id="38" creationId="{39089471-EDBA-49EE-B42B-3419D91F55B0}"/>
          </ac:spMkLst>
        </pc:spChg>
        <pc:spChg chg="add mod">
          <ac:chgData name="Gareth Allott" userId="d67bc1e7-5e6e-4540-bcf9-468a02f7a83e" providerId="ADAL" clId="{675B61A9-F42C-4E3D-AB24-B32C150C4589}" dt="2021-03-19T17:47:57.159" v="3961"/>
          <ac:spMkLst>
            <pc:docMk/>
            <pc:sldMk cId="2782291062" sldId="2146845359"/>
            <ac:spMk id="39" creationId="{9CDAB9B0-6F88-4D4D-A724-F3E0023F957C}"/>
          </ac:spMkLst>
        </pc:spChg>
        <pc:spChg chg="add del mod">
          <ac:chgData name="Gareth Allott" userId="d67bc1e7-5e6e-4540-bcf9-468a02f7a83e" providerId="ADAL" clId="{675B61A9-F42C-4E3D-AB24-B32C150C4589}" dt="2021-03-23T12:28:40.268" v="7146" actId="478"/>
          <ac:spMkLst>
            <pc:docMk/>
            <pc:sldMk cId="2782291062" sldId="2146845359"/>
            <ac:spMk id="40" creationId="{5FB002C4-3F03-47EC-9382-B562F88B9621}"/>
          </ac:spMkLst>
        </pc:spChg>
        <pc:spChg chg="add mod">
          <ac:chgData name="Gareth Allott" userId="d67bc1e7-5e6e-4540-bcf9-468a02f7a83e" providerId="ADAL" clId="{675B61A9-F42C-4E3D-AB24-B32C150C4589}" dt="2021-03-23T12:30:22.167" v="7232" actId="20577"/>
          <ac:spMkLst>
            <pc:docMk/>
            <pc:sldMk cId="2782291062" sldId="2146845359"/>
            <ac:spMk id="41" creationId="{C5001FE4-3B6C-4329-BAC7-BD6933B6038B}"/>
          </ac:spMkLst>
        </pc:spChg>
        <pc:spChg chg="add mod">
          <ac:chgData name="Gareth Allott" userId="d67bc1e7-5e6e-4540-bcf9-468a02f7a83e" providerId="ADAL" clId="{675B61A9-F42C-4E3D-AB24-B32C150C4589}" dt="2021-03-19T17:48:16.289" v="3971" actId="5793"/>
          <ac:spMkLst>
            <pc:docMk/>
            <pc:sldMk cId="2782291062" sldId="2146845359"/>
            <ac:spMk id="42" creationId="{CC72FEDF-67F3-432B-B673-6E705005A83E}"/>
          </ac:spMkLst>
        </pc:spChg>
        <pc:spChg chg="add mod">
          <ac:chgData name="Gareth Allott" userId="d67bc1e7-5e6e-4540-bcf9-468a02f7a83e" providerId="ADAL" clId="{675B61A9-F42C-4E3D-AB24-B32C150C4589}" dt="2021-03-19T17:48:18.866" v="3975" actId="5793"/>
          <ac:spMkLst>
            <pc:docMk/>
            <pc:sldMk cId="2782291062" sldId="2146845359"/>
            <ac:spMk id="43" creationId="{DF267BA7-089E-4F51-A453-99A4B377377C}"/>
          </ac:spMkLst>
        </pc:spChg>
        <pc:spChg chg="add mod">
          <ac:chgData name="Gareth Allott" userId="d67bc1e7-5e6e-4540-bcf9-468a02f7a83e" providerId="ADAL" clId="{675B61A9-F42C-4E3D-AB24-B32C150C4589}" dt="2021-03-19T17:48:20.264" v="3979" actId="5793"/>
          <ac:spMkLst>
            <pc:docMk/>
            <pc:sldMk cId="2782291062" sldId="2146845359"/>
            <ac:spMk id="44" creationId="{33206D65-5C77-40B5-9989-9AC190474943}"/>
          </ac:spMkLst>
        </pc:spChg>
        <pc:spChg chg="add mod">
          <ac:chgData name="Gareth Allott" userId="d67bc1e7-5e6e-4540-bcf9-468a02f7a83e" providerId="ADAL" clId="{675B61A9-F42C-4E3D-AB24-B32C150C4589}" dt="2021-03-22T10:36:39.101" v="6118" actId="1076"/>
          <ac:spMkLst>
            <pc:docMk/>
            <pc:sldMk cId="2782291062" sldId="2146845359"/>
            <ac:spMk id="45" creationId="{AAFEF9E2-D4BE-4FEB-918C-283D94B326E6}"/>
          </ac:spMkLst>
        </pc:spChg>
        <pc:spChg chg="add mod">
          <ac:chgData name="Gareth Allott" userId="d67bc1e7-5e6e-4540-bcf9-468a02f7a83e" providerId="ADAL" clId="{675B61A9-F42C-4E3D-AB24-B32C150C4589}" dt="2021-03-19T17:46:55.971" v="3935"/>
          <ac:spMkLst>
            <pc:docMk/>
            <pc:sldMk cId="2782291062" sldId="2146845359"/>
            <ac:spMk id="46" creationId="{F6CA2DAD-C7A7-4023-90BD-40EECD9B025D}"/>
          </ac:spMkLst>
        </pc:spChg>
        <pc:spChg chg="add mod ord">
          <ac:chgData name="Gareth Allott" userId="d67bc1e7-5e6e-4540-bcf9-468a02f7a83e" providerId="ADAL" clId="{675B61A9-F42C-4E3D-AB24-B32C150C4589}" dt="2021-03-22T10:36:42.112" v="6120" actId="1036"/>
          <ac:spMkLst>
            <pc:docMk/>
            <pc:sldMk cId="2782291062" sldId="2146845359"/>
            <ac:spMk id="47" creationId="{33E7C6BA-3F81-4E7F-BCF3-24E860AB7E4C}"/>
          </ac:spMkLst>
        </pc:spChg>
        <pc:spChg chg="add mod">
          <ac:chgData name="Gareth Allott" userId="d67bc1e7-5e6e-4540-bcf9-468a02f7a83e" providerId="ADAL" clId="{675B61A9-F42C-4E3D-AB24-B32C150C4589}" dt="2021-03-19T17:48:29.340" v="3981" actId="1076"/>
          <ac:spMkLst>
            <pc:docMk/>
            <pc:sldMk cId="2782291062" sldId="2146845359"/>
            <ac:spMk id="48" creationId="{5A1FF11B-94C2-4809-89C3-3E1F94126D22}"/>
          </ac:spMkLst>
        </pc:spChg>
        <pc:spChg chg="add mod">
          <ac:chgData name="Gareth Allott" userId="d67bc1e7-5e6e-4540-bcf9-468a02f7a83e" providerId="ADAL" clId="{675B61A9-F42C-4E3D-AB24-B32C150C4589}" dt="2021-03-19T17:48:41.728" v="4014" actId="20577"/>
          <ac:spMkLst>
            <pc:docMk/>
            <pc:sldMk cId="2782291062" sldId="2146845359"/>
            <ac:spMk id="49" creationId="{BC3EC2E9-0E5F-48CF-856F-F9967F4B5E2E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0" creationId="{3AD99F5C-0DD2-48B5-B53E-B6AC57ECFE27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1" creationId="{456EE04B-65A3-415E-B754-F9154426FC85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2" creationId="{6B69C8FF-1266-4D0E-B05C-0C18CA56B396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3" creationId="{AC512D80-7AE3-4C03-94AA-C76138BFEC8E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4" creationId="{064B7095-A239-4AE0-82F8-8692979C7BD3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5" creationId="{5888ED02-E2BA-4B08-A9A7-F96AA74E720D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6" creationId="{712735C8-8C16-48A3-B8D9-645F5F7CFD15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7" creationId="{A13AB84B-4C79-4C6A-B166-E4AAC5C7FDA6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8" creationId="{67E6539E-D725-493B-9A60-1EEF75512EA3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59" creationId="{FAC2E0CA-6A66-4348-AE01-E86AC39C0EA3}"/>
          </ac:spMkLst>
        </pc:spChg>
        <pc:spChg chg="add del mod">
          <ac:chgData name="Gareth Allott" userId="d67bc1e7-5e6e-4540-bcf9-468a02f7a83e" providerId="ADAL" clId="{675B61A9-F42C-4E3D-AB24-B32C150C4589}" dt="2021-03-19T17:48:34.768" v="3983" actId="478"/>
          <ac:spMkLst>
            <pc:docMk/>
            <pc:sldMk cId="2782291062" sldId="2146845359"/>
            <ac:spMk id="60" creationId="{83A33A3A-73EC-4DD4-833E-E0FF20FE824F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61" creationId="{45159C5E-3B03-419E-833E-08ED1F3C7F54}"/>
          </ac:spMkLst>
        </pc:spChg>
        <pc:spChg chg="add del mod">
          <ac:chgData name="Gareth Allott" userId="d67bc1e7-5e6e-4540-bcf9-468a02f7a83e" providerId="ADAL" clId="{675B61A9-F42C-4E3D-AB24-B32C150C4589}" dt="2021-03-19T17:48:33.743" v="3982" actId="478"/>
          <ac:spMkLst>
            <pc:docMk/>
            <pc:sldMk cId="2782291062" sldId="2146845359"/>
            <ac:spMk id="62" creationId="{FA3D3213-A150-4A46-841A-A2386F5A0823}"/>
          </ac:spMkLst>
        </pc:spChg>
        <pc:picChg chg="add del mod">
          <ac:chgData name="Gareth Allott" userId="d67bc1e7-5e6e-4540-bcf9-468a02f7a83e" providerId="ADAL" clId="{675B61A9-F42C-4E3D-AB24-B32C150C4589}" dt="2021-03-19T17:44:41.327" v="3779" actId="478"/>
          <ac:picMkLst>
            <pc:docMk/>
            <pc:sldMk cId="2782291062" sldId="2146845359"/>
            <ac:picMk id="7" creationId="{F117C33E-A746-4F34-8535-229C88B85676}"/>
          </ac:picMkLst>
        </pc:picChg>
        <pc:picChg chg="add mod">
          <ac:chgData name="Gareth Allott" userId="d67bc1e7-5e6e-4540-bcf9-468a02f7a83e" providerId="ADAL" clId="{675B61A9-F42C-4E3D-AB24-B32C150C4589}" dt="2021-03-19T17:44:51.269" v="3781"/>
          <ac:picMkLst>
            <pc:docMk/>
            <pc:sldMk cId="2782291062" sldId="2146845359"/>
            <ac:picMk id="13" creationId="{BB278CA6-541C-43CF-BA23-19FA3B094C3B}"/>
          </ac:picMkLst>
        </pc:picChg>
        <pc:picChg chg="add mod">
          <ac:chgData name="Gareth Allott" userId="d67bc1e7-5e6e-4540-bcf9-468a02f7a83e" providerId="ADAL" clId="{675B61A9-F42C-4E3D-AB24-B32C150C4589}" dt="2021-03-19T17:44:51.269" v="3781"/>
          <ac:picMkLst>
            <pc:docMk/>
            <pc:sldMk cId="2782291062" sldId="2146845359"/>
            <ac:picMk id="14" creationId="{E8B1EF12-25BD-4D0B-8CA8-5248C2FD5D60}"/>
          </ac:picMkLst>
        </pc:picChg>
        <pc:cxnChg chg="add del mod">
          <ac:chgData name="Gareth Allott" userId="d67bc1e7-5e6e-4540-bcf9-468a02f7a83e" providerId="ADAL" clId="{675B61A9-F42C-4E3D-AB24-B32C150C4589}" dt="2021-03-19T18:08:12.364" v="5576" actId="478"/>
          <ac:cxnSpMkLst>
            <pc:docMk/>
            <pc:sldMk cId="2782291062" sldId="2146845359"/>
            <ac:cxnSpMk id="64" creationId="{B2AA261E-4C6D-4676-B86B-DFC049FA5E71}"/>
          </ac:cxnSpMkLst>
        </pc:cxnChg>
        <pc:cxnChg chg="add mod">
          <ac:chgData name="Gareth Allott" userId="d67bc1e7-5e6e-4540-bcf9-468a02f7a83e" providerId="ADAL" clId="{675B61A9-F42C-4E3D-AB24-B32C150C4589}" dt="2021-03-19T18:08:12.641" v="5577"/>
          <ac:cxnSpMkLst>
            <pc:docMk/>
            <pc:sldMk cId="2782291062" sldId="2146845359"/>
            <ac:cxnSpMk id="65" creationId="{A1E2E5F3-F4F5-494B-8393-E74B882C9BA4}"/>
          </ac:cxnSpMkLst>
        </pc:cxnChg>
      </pc:sldChg>
      <pc:sldChg chg="addSp delSp modSp add mod ord modTransition">
        <pc:chgData name="Gareth Allott" userId="d67bc1e7-5e6e-4540-bcf9-468a02f7a83e" providerId="ADAL" clId="{675B61A9-F42C-4E3D-AB24-B32C150C4589}" dt="2021-03-23T12:47:11.736" v="7452" actId="1036"/>
        <pc:sldMkLst>
          <pc:docMk/>
          <pc:sldMk cId="666510236" sldId="2146845360"/>
        </pc:sldMkLst>
        <pc:spChg chg="mod">
          <ac:chgData name="Gareth Allott" userId="d67bc1e7-5e6e-4540-bcf9-468a02f7a83e" providerId="ADAL" clId="{675B61A9-F42C-4E3D-AB24-B32C150C4589}" dt="2021-03-19T18:08:33.471" v="5583" actId="20577"/>
          <ac:spMkLst>
            <pc:docMk/>
            <pc:sldMk cId="666510236" sldId="2146845360"/>
            <ac:spMk id="15" creationId="{9011388F-F8DF-4BDC-9A5D-42D0E3AC7BE5}"/>
          </ac:spMkLst>
        </pc:spChg>
        <pc:spChg chg="add del mod">
          <ac:chgData name="Gareth Allott" userId="d67bc1e7-5e6e-4540-bcf9-468a02f7a83e" providerId="ADAL" clId="{675B61A9-F42C-4E3D-AB24-B32C150C4589}" dt="2021-03-19T17:49:01.284" v="4019"/>
          <ac:spMkLst>
            <pc:docMk/>
            <pc:sldMk cId="666510236" sldId="2146845360"/>
            <ac:spMk id="25" creationId="{7D584167-7C09-4F9D-8802-8F23FDD07C7C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26" creationId="{BDBC1ECB-303D-426A-B15A-7B828D207FB6}"/>
          </ac:spMkLst>
        </pc:spChg>
        <pc:spChg chg="add mod">
          <ac:chgData name="Gareth Allott" userId="d67bc1e7-5e6e-4540-bcf9-468a02f7a83e" providerId="ADAL" clId="{675B61A9-F42C-4E3D-AB24-B32C150C4589}" dt="2021-03-23T12:42:51.511" v="7286" actId="1076"/>
          <ac:spMkLst>
            <pc:docMk/>
            <pc:sldMk cId="666510236" sldId="2146845360"/>
            <ac:spMk id="27" creationId="{76B45380-76B7-4955-A63B-5B58F6D7C5D6}"/>
          </ac:spMkLst>
        </pc:spChg>
        <pc:spChg chg="add mod">
          <ac:chgData name="Gareth Allott" userId="d67bc1e7-5e6e-4540-bcf9-468a02f7a83e" providerId="ADAL" clId="{675B61A9-F42C-4E3D-AB24-B32C150C4589}" dt="2021-03-23T12:31:03.176" v="7252" actId="465"/>
          <ac:spMkLst>
            <pc:docMk/>
            <pc:sldMk cId="666510236" sldId="2146845360"/>
            <ac:spMk id="28" creationId="{BCBA2871-5F9D-4157-8687-D3591C7D9323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29" creationId="{C3219B5A-28D8-4255-A7AC-D6A1425A57AB}"/>
          </ac:spMkLst>
        </pc:spChg>
        <pc:spChg chg="add mod">
          <ac:chgData name="Gareth Allott" userId="d67bc1e7-5e6e-4540-bcf9-468a02f7a83e" providerId="ADAL" clId="{675B61A9-F42C-4E3D-AB24-B32C150C4589}" dt="2021-03-23T12:31:03.176" v="7252" actId="465"/>
          <ac:spMkLst>
            <pc:docMk/>
            <pc:sldMk cId="666510236" sldId="2146845360"/>
            <ac:spMk id="30" creationId="{BB6BAC7D-9002-4156-B6E8-8DF6E4A3130E}"/>
          </ac:spMkLst>
        </pc:spChg>
        <pc:spChg chg="mod">
          <ac:chgData name="Gareth Allott" userId="d67bc1e7-5e6e-4540-bcf9-468a02f7a83e" providerId="ADAL" clId="{675B61A9-F42C-4E3D-AB24-B32C150C4589}" dt="2021-03-23T12:42:38.651" v="7285" actId="1076"/>
          <ac:spMkLst>
            <pc:docMk/>
            <pc:sldMk cId="666510236" sldId="2146845360"/>
            <ac:spMk id="31" creationId="{75A69C5A-D919-44AE-B52E-F714247E2B96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34" creationId="{33921415-AAF1-4D2B-9B5F-6C9F35121EA5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4" creationId="{B454A5D6-9790-4CCB-9D9A-087099D91EF6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5" creationId="{1FD0230D-DE25-4528-9C89-13778665B03D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35" creationId="{DF40EF87-8EB5-41F2-A1F0-4F351FD2B074}"/>
          </ac:spMkLst>
        </pc:spChg>
        <pc:spChg chg="add mod">
          <ac:chgData name="Gareth Allott" userId="d67bc1e7-5e6e-4540-bcf9-468a02f7a83e" providerId="ADAL" clId="{675B61A9-F42C-4E3D-AB24-B32C150C4589}" dt="2021-03-23T12:43:40.220" v="7293" actId="1076"/>
          <ac:spMkLst>
            <pc:docMk/>
            <pc:sldMk cId="666510236" sldId="2146845360"/>
            <ac:spMk id="36" creationId="{3878AA5D-12B9-4060-AE35-1E4449F246E0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6" creationId="{D7F66A7A-EC91-45F1-9551-A199502ED9BB}"/>
          </ac:spMkLst>
        </pc:spChg>
        <pc:spChg chg="add del mod">
          <ac:chgData name="Gareth Allott" userId="d67bc1e7-5e6e-4540-bcf9-468a02f7a83e" providerId="ADAL" clId="{675B61A9-F42C-4E3D-AB24-B32C150C4589}" dt="2021-03-23T12:44:01.816" v="7295" actId="478"/>
          <ac:spMkLst>
            <pc:docMk/>
            <pc:sldMk cId="666510236" sldId="2146845360"/>
            <ac:spMk id="37" creationId="{95239BB7-CF58-4BF3-AE40-D59FECB44F22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7" creationId="{9E24AA5D-F77F-44F9-A7BA-97015E05E368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8" creationId="{39089471-EDBA-49EE-B42B-3419D91F55B0}"/>
          </ac:spMkLst>
        </pc:spChg>
        <pc:spChg chg="add del mod">
          <ac:chgData name="Gareth Allott" userId="d67bc1e7-5e6e-4540-bcf9-468a02f7a83e" providerId="ADAL" clId="{675B61A9-F42C-4E3D-AB24-B32C150C4589}" dt="2021-03-23T12:44:01.816" v="7295" actId="478"/>
          <ac:spMkLst>
            <pc:docMk/>
            <pc:sldMk cId="666510236" sldId="2146845360"/>
            <ac:spMk id="38" creationId="{C30C84F6-FBB3-4F35-9347-FDEA27CCCD29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39" creationId="{7C91F0C6-EF82-4128-898B-79196DC8331A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39" creationId="{9CDAB9B0-6F88-4D4D-A724-F3E0023F957C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40" creationId="{5FB002C4-3F03-47EC-9382-B562F88B9621}"/>
          </ac:spMkLst>
        </pc:spChg>
        <pc:spChg chg="del mod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41" creationId="{C5001FE4-3B6C-4329-BAC7-BD6933B6038B}"/>
          </ac:spMkLst>
        </pc:spChg>
        <pc:spChg chg="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42" creationId="{CC72FEDF-67F3-432B-B673-6E705005A83E}"/>
          </ac:spMkLst>
        </pc:spChg>
        <pc:spChg chg="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43" creationId="{DF267BA7-089E-4F51-A453-99A4B377377C}"/>
          </ac:spMkLst>
        </pc:spChg>
        <pc:spChg chg="mod">
          <ac:chgData name="Gareth Allott" userId="d67bc1e7-5e6e-4540-bcf9-468a02f7a83e" providerId="ADAL" clId="{675B61A9-F42C-4E3D-AB24-B32C150C4589}" dt="2021-03-23T12:31:03.176" v="7252" actId="465"/>
          <ac:spMkLst>
            <pc:docMk/>
            <pc:sldMk cId="666510236" sldId="2146845360"/>
            <ac:spMk id="44" creationId="{33206D65-5C77-40B5-9989-9AC190474943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45" creationId="{AAFEF9E2-D4BE-4FEB-918C-283D94B326E6}"/>
          </ac:spMkLst>
        </pc:spChg>
        <pc:spChg chg="del">
          <ac:chgData name="Gareth Allott" userId="d67bc1e7-5e6e-4540-bcf9-468a02f7a83e" providerId="ADAL" clId="{675B61A9-F42C-4E3D-AB24-B32C150C4589}" dt="2021-03-19T17:49:07.264" v="4022" actId="478"/>
          <ac:spMkLst>
            <pc:docMk/>
            <pc:sldMk cId="666510236" sldId="2146845360"/>
            <ac:spMk id="46" creationId="{F6CA2DAD-C7A7-4023-90BD-40EECD9B025D}"/>
          </ac:spMkLst>
        </pc:spChg>
        <pc:spChg chg="ord">
          <ac:chgData name="Gareth Allott" userId="d67bc1e7-5e6e-4540-bcf9-468a02f7a83e" providerId="ADAL" clId="{675B61A9-F42C-4E3D-AB24-B32C150C4589}" dt="2021-03-23T12:41:39.728" v="7270" actId="167"/>
          <ac:spMkLst>
            <pc:docMk/>
            <pc:sldMk cId="666510236" sldId="2146845360"/>
            <ac:spMk id="47" creationId="{33E7C6BA-3F81-4E7F-BCF3-24E860AB7E4C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50" creationId="{63AC3D4F-CCDC-4D4C-9D79-3A46ACC6B999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51" creationId="{08C719EB-B078-4351-82B5-7909D1955CDE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52" creationId="{D9AF6163-6D93-445D-A28E-50408C3A6546}"/>
          </ac:spMkLst>
        </pc:spChg>
        <pc:spChg chg="add mod">
          <ac:chgData name="Gareth Allott" userId="d67bc1e7-5e6e-4540-bcf9-468a02f7a83e" providerId="ADAL" clId="{675B61A9-F42C-4E3D-AB24-B32C150C4589}" dt="2021-03-23T12:47:11.736" v="7452" actId="1036"/>
          <ac:spMkLst>
            <pc:docMk/>
            <pc:sldMk cId="666510236" sldId="2146845360"/>
            <ac:spMk id="53" creationId="{07D8B7A6-F3DB-4EC4-BCB1-69829E1F12A8}"/>
          </ac:spMkLst>
        </pc:spChg>
        <pc:spChg chg="add mod">
          <ac:chgData name="Gareth Allott" userId="d67bc1e7-5e6e-4540-bcf9-468a02f7a83e" providerId="ADAL" clId="{675B61A9-F42C-4E3D-AB24-B32C150C4589}" dt="2021-03-23T12:44:32.716" v="7363" actId="1036"/>
          <ac:spMkLst>
            <pc:docMk/>
            <pc:sldMk cId="666510236" sldId="2146845360"/>
            <ac:spMk id="54" creationId="{2309D6E1-C0F3-4B7C-8FFD-EDC187648AF5}"/>
          </ac:spMkLst>
        </pc:spChg>
        <pc:cxnChg chg="add mod">
          <ac:chgData name="Gareth Allott" userId="d67bc1e7-5e6e-4540-bcf9-468a02f7a83e" providerId="ADAL" clId="{675B61A9-F42C-4E3D-AB24-B32C150C4589}" dt="2021-03-19T18:08:06.613" v="5575" actId="208"/>
          <ac:cxnSpMkLst>
            <pc:docMk/>
            <pc:sldMk cId="666510236" sldId="2146845360"/>
            <ac:cxnSpMk id="55" creationId="{E746EEE7-E0EE-4D76-BFA4-4CD605CAA192}"/>
          </ac:cxnSpMkLst>
        </pc:cxnChg>
      </pc:sldChg>
      <pc:sldChg chg="modSp add del mod">
        <pc:chgData name="Gareth Allott" userId="d67bc1e7-5e6e-4540-bcf9-468a02f7a83e" providerId="ADAL" clId="{675B61A9-F42C-4E3D-AB24-B32C150C4589}" dt="2021-03-19T17:48:48.185" v="4015" actId="47"/>
        <pc:sldMkLst>
          <pc:docMk/>
          <pc:sldMk cId="1743043948" sldId="2146845360"/>
        </pc:sldMkLst>
        <pc:spChg chg="mod">
          <ac:chgData name="Gareth Allott" userId="d67bc1e7-5e6e-4540-bcf9-468a02f7a83e" providerId="ADAL" clId="{675B61A9-F42C-4E3D-AB24-B32C150C4589}" dt="2021-03-19T17:47:15.617" v="3942" actId="20578"/>
          <ac:spMkLst>
            <pc:docMk/>
            <pc:sldMk cId="1743043948" sldId="2146845360"/>
            <ac:spMk id="8" creationId="{A1557C07-3326-4855-B1F7-684157EF26F7}"/>
          </ac:spMkLst>
        </pc:spChg>
      </pc:sldChg>
      <pc:sldChg chg="add del">
        <pc:chgData name="Gareth Allott" userId="d67bc1e7-5e6e-4540-bcf9-468a02f7a83e" providerId="ADAL" clId="{675B61A9-F42C-4E3D-AB24-B32C150C4589}" dt="2021-03-19T17:48:50.764" v="4016" actId="47"/>
        <pc:sldMkLst>
          <pc:docMk/>
          <pc:sldMk cId="3595244335" sldId="2146845361"/>
        </pc:sldMkLst>
      </pc:sldChg>
      <pc:sldChg chg="addSp delSp modSp add mod modTransition">
        <pc:chgData name="Gareth Allott" userId="d67bc1e7-5e6e-4540-bcf9-468a02f7a83e" providerId="ADAL" clId="{675B61A9-F42C-4E3D-AB24-B32C150C4589}" dt="2021-04-05T15:50:24.680" v="9348" actId="313"/>
        <pc:sldMkLst>
          <pc:docMk/>
          <pc:sldMk cId="4248032955" sldId="2146845361"/>
        </pc:sldMkLst>
        <pc:spChg chg="mod">
          <ac:chgData name="Gareth Allott" userId="d67bc1e7-5e6e-4540-bcf9-468a02f7a83e" providerId="ADAL" clId="{675B61A9-F42C-4E3D-AB24-B32C150C4589}" dt="2021-03-22T10:40:41.914" v="6200" actId="20577"/>
          <ac:spMkLst>
            <pc:docMk/>
            <pc:sldMk cId="4248032955" sldId="2146845361"/>
            <ac:spMk id="2" creationId="{ED2FC044-BEDA-42E8-913B-B30EC113F11D}"/>
          </ac:spMkLst>
        </pc:spChg>
        <pc:spChg chg="add del mod">
          <ac:chgData name="Gareth Allott" userId="d67bc1e7-5e6e-4540-bcf9-468a02f7a83e" providerId="ADAL" clId="{675B61A9-F42C-4E3D-AB24-B32C150C4589}" dt="2021-03-22T10:40:44.787" v="6201" actId="21"/>
          <ac:spMkLst>
            <pc:docMk/>
            <pc:sldMk cId="4248032955" sldId="2146845361"/>
            <ac:spMk id="3" creationId="{BCA38474-ED13-4B42-B9D1-7F784FDC56D5}"/>
          </ac:spMkLst>
        </pc:spChg>
        <pc:spChg chg="del">
          <ac:chgData name="Gareth Allott" userId="d67bc1e7-5e6e-4540-bcf9-468a02f7a83e" providerId="ADAL" clId="{675B61A9-F42C-4E3D-AB24-B32C150C4589}" dt="2021-03-19T17:51:29.467" v="4058" actId="478"/>
          <ac:spMkLst>
            <pc:docMk/>
            <pc:sldMk cId="4248032955" sldId="2146845361"/>
            <ac:spMk id="3" creationId="{EB91B23B-A1C7-4076-9B99-05A7B828FC82}"/>
          </ac:spMkLst>
        </pc:spChg>
        <pc:spChg chg="add mod">
          <ac:chgData name="Gareth Allott" userId="d67bc1e7-5e6e-4540-bcf9-468a02f7a83e" providerId="ADAL" clId="{675B61A9-F42C-4E3D-AB24-B32C150C4589}" dt="2021-03-22T10:43:08.505" v="6254" actId="114"/>
          <ac:spMkLst>
            <pc:docMk/>
            <pc:sldMk cId="4248032955" sldId="2146845361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4-05T15:50:24.680" v="9348" actId="313"/>
          <ac:spMkLst>
            <pc:docMk/>
            <pc:sldMk cId="4248032955" sldId="2146845361"/>
            <ac:spMk id="6" creationId="{99B84020-79A9-4C48-9FEC-E870B6547AF7}"/>
          </ac:spMkLst>
        </pc:spChg>
        <pc:spChg chg="add mod">
          <ac:chgData name="Gareth Allott" userId="d67bc1e7-5e6e-4540-bcf9-468a02f7a83e" providerId="ADAL" clId="{675B61A9-F42C-4E3D-AB24-B32C150C4589}" dt="2021-03-19T18:04:44.588" v="5290" actId="1038"/>
          <ac:spMkLst>
            <pc:docMk/>
            <pc:sldMk cId="4248032955" sldId="2146845361"/>
            <ac:spMk id="10" creationId="{6F3FFBD1-9793-47AD-A3EB-460135882463}"/>
          </ac:spMkLst>
        </pc:spChg>
        <pc:picChg chg="add mod">
          <ac:chgData name="Gareth Allott" userId="d67bc1e7-5e6e-4540-bcf9-468a02f7a83e" providerId="ADAL" clId="{675B61A9-F42C-4E3D-AB24-B32C150C4589}" dt="2021-03-19T17:52:46.042" v="4170" actId="1035"/>
          <ac:picMkLst>
            <pc:docMk/>
            <pc:sldMk cId="4248032955" sldId="2146845361"/>
            <ac:picMk id="8" creationId="{4C501A65-AC22-4B28-8ACC-D88F00C482C0}"/>
          </ac:picMkLst>
        </pc:picChg>
        <pc:picChg chg="add mod">
          <ac:chgData name="Gareth Allott" userId="d67bc1e7-5e6e-4540-bcf9-468a02f7a83e" providerId="ADAL" clId="{675B61A9-F42C-4E3D-AB24-B32C150C4589}" dt="2021-03-19T18:04:41.670" v="5287" actId="1036"/>
          <ac:picMkLst>
            <pc:docMk/>
            <pc:sldMk cId="4248032955" sldId="2146845361"/>
            <ac:picMk id="9" creationId="{EC2C9963-60B7-42AC-873F-E471663259C2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2T10:41:24.580" v="6210"/>
        <pc:sldMkLst>
          <pc:docMk/>
          <pc:sldMk cId="3407224959" sldId="2146845362"/>
        </pc:sldMkLst>
        <pc:spChg chg="mod">
          <ac:chgData name="Gareth Allott" userId="d67bc1e7-5e6e-4540-bcf9-468a02f7a83e" providerId="ADAL" clId="{675B61A9-F42C-4E3D-AB24-B32C150C4589}" dt="2021-03-19T17:54:12.746" v="4347" actId="20577"/>
          <ac:spMkLst>
            <pc:docMk/>
            <pc:sldMk cId="3407224959" sldId="2146845362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7:53:18.793" v="4249" actId="20577"/>
          <ac:spMkLst>
            <pc:docMk/>
            <pc:sldMk cId="3407224959" sldId="2146845362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1.318" v="5292"/>
          <ac:spMkLst>
            <pc:docMk/>
            <pc:sldMk cId="3407224959" sldId="2146845362"/>
            <ac:spMk id="9" creationId="{A975B29A-C7B5-450D-869F-7B0B0EE2DACF}"/>
          </ac:spMkLst>
        </pc:spChg>
        <pc:spChg chg="add mod">
          <ac:chgData name="Gareth Allott" userId="d67bc1e7-5e6e-4540-bcf9-468a02f7a83e" providerId="ADAL" clId="{675B61A9-F42C-4E3D-AB24-B32C150C4589}" dt="2021-03-22T10:41:24.580" v="6210"/>
          <ac:spMkLst>
            <pc:docMk/>
            <pc:sldMk cId="3407224959" sldId="2146845362"/>
            <ac:spMk id="10" creationId="{B7CA15B5-77E7-41AF-A6D7-FEA420422942}"/>
          </ac:spMkLst>
        </pc:spChg>
        <pc:picChg chg="add mod">
          <ac:chgData name="Gareth Allott" userId="d67bc1e7-5e6e-4540-bcf9-468a02f7a83e" providerId="ADAL" clId="{675B61A9-F42C-4E3D-AB24-B32C150C4589}" dt="2021-03-19T18:04:51.318" v="5292"/>
          <ac:picMkLst>
            <pc:docMk/>
            <pc:sldMk cId="3407224959" sldId="2146845362"/>
            <ac:picMk id="7" creationId="{CB1D220D-9636-4830-A596-083230A072D6}"/>
          </ac:picMkLst>
        </pc:picChg>
      </pc:sldChg>
      <pc:sldChg chg="addSp delSp modSp add del mod modTransition">
        <pc:chgData name="Gareth Allott" userId="d67bc1e7-5e6e-4540-bcf9-468a02f7a83e" providerId="ADAL" clId="{675B61A9-F42C-4E3D-AB24-B32C150C4589}" dt="2021-03-22T10:43:04.413" v="6253" actId="47"/>
        <pc:sldMkLst>
          <pc:docMk/>
          <pc:sldMk cId="1035939732" sldId="2146845363"/>
        </pc:sldMkLst>
        <pc:spChg chg="mod">
          <ac:chgData name="Gareth Allott" userId="d67bc1e7-5e6e-4540-bcf9-468a02f7a83e" providerId="ADAL" clId="{675B61A9-F42C-4E3D-AB24-B32C150C4589}" dt="2021-03-19T17:54:15.433" v="4349" actId="20577"/>
          <ac:spMkLst>
            <pc:docMk/>
            <pc:sldMk cId="1035939732" sldId="2146845363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2T10:42:50.029" v="6240" actId="20577"/>
          <ac:spMkLst>
            <pc:docMk/>
            <pc:sldMk cId="1035939732" sldId="2146845363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2.589" v="5294"/>
          <ac:spMkLst>
            <pc:docMk/>
            <pc:sldMk cId="1035939732" sldId="2146845363"/>
            <ac:spMk id="9" creationId="{ECA88066-32CC-49D3-A007-1E386C09ED73}"/>
          </ac:spMkLst>
        </pc:spChg>
        <pc:spChg chg="add del mod">
          <ac:chgData name="Gareth Allott" userId="d67bc1e7-5e6e-4540-bcf9-468a02f7a83e" providerId="ADAL" clId="{675B61A9-F42C-4E3D-AB24-B32C150C4589}" dt="2021-03-22T10:41:52.638" v="6213" actId="478"/>
          <ac:spMkLst>
            <pc:docMk/>
            <pc:sldMk cId="1035939732" sldId="2146845363"/>
            <ac:spMk id="10" creationId="{54DC68BB-3B0A-459B-AC23-962C9FE95F23}"/>
          </ac:spMkLst>
        </pc:spChg>
        <pc:picChg chg="add mod">
          <ac:chgData name="Gareth Allott" userId="d67bc1e7-5e6e-4540-bcf9-468a02f7a83e" providerId="ADAL" clId="{675B61A9-F42C-4E3D-AB24-B32C150C4589}" dt="2021-03-19T18:04:52.589" v="5294"/>
          <ac:picMkLst>
            <pc:docMk/>
            <pc:sldMk cId="1035939732" sldId="2146845363"/>
            <ac:picMk id="7" creationId="{825F1DFA-DE0A-4D4A-B0DD-2C5DABB80B7E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3T13:39:48.844" v="9022" actId="20577"/>
        <pc:sldMkLst>
          <pc:docMk/>
          <pc:sldMk cId="3783901067" sldId="2146845364"/>
        </pc:sldMkLst>
        <pc:spChg chg="mod">
          <ac:chgData name="Gareth Allott" userId="d67bc1e7-5e6e-4540-bcf9-468a02f7a83e" providerId="ADAL" clId="{675B61A9-F42C-4E3D-AB24-B32C150C4589}" dt="2021-03-22T10:43:27.704" v="6262" actId="20577"/>
          <ac:spMkLst>
            <pc:docMk/>
            <pc:sldMk cId="3783901067" sldId="2146845364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3T13:38:26.039" v="8946" actId="20577"/>
          <ac:spMkLst>
            <pc:docMk/>
            <pc:sldMk cId="3783901067" sldId="2146845364"/>
            <ac:spMk id="5" creationId="{BCC68F0D-3E61-4D8E-8595-89DA89762F49}"/>
          </ac:spMkLst>
        </pc:spChg>
        <pc:spChg chg="mod">
          <ac:chgData name="Gareth Allott" userId="d67bc1e7-5e6e-4540-bcf9-468a02f7a83e" providerId="ADAL" clId="{675B61A9-F42C-4E3D-AB24-B32C150C4589}" dt="2021-03-23T13:39:48.844" v="9022" actId="20577"/>
          <ac:spMkLst>
            <pc:docMk/>
            <pc:sldMk cId="3783901067" sldId="2146845364"/>
            <ac:spMk id="6" creationId="{99B84020-79A9-4C48-9FEC-E870B6547AF7}"/>
          </ac:spMkLst>
        </pc:spChg>
        <pc:spChg chg="add mod">
          <ac:chgData name="Gareth Allott" userId="d67bc1e7-5e6e-4540-bcf9-468a02f7a83e" providerId="ADAL" clId="{675B61A9-F42C-4E3D-AB24-B32C150C4589}" dt="2021-03-19T18:04:53.226" v="5295"/>
          <ac:spMkLst>
            <pc:docMk/>
            <pc:sldMk cId="3783901067" sldId="2146845364"/>
            <ac:spMk id="9" creationId="{72C6066B-4DBA-40A9-BF8B-FFA18C445C99}"/>
          </ac:spMkLst>
        </pc:spChg>
        <pc:picChg chg="add mod">
          <ac:chgData name="Gareth Allott" userId="d67bc1e7-5e6e-4540-bcf9-468a02f7a83e" providerId="ADAL" clId="{675B61A9-F42C-4E3D-AB24-B32C150C4589}" dt="2021-03-19T18:04:53.226" v="5295"/>
          <ac:picMkLst>
            <pc:docMk/>
            <pc:sldMk cId="3783901067" sldId="2146845364"/>
            <ac:picMk id="7" creationId="{E3474DC9-67CF-471F-A799-A8B50F0FFE31}"/>
          </ac:picMkLst>
        </pc:picChg>
      </pc:sldChg>
      <pc:sldChg chg="addSp modSp add del mod modTransition">
        <pc:chgData name="Gareth Allott" userId="d67bc1e7-5e6e-4540-bcf9-468a02f7a83e" providerId="ADAL" clId="{675B61A9-F42C-4E3D-AB24-B32C150C4589}" dt="2021-03-22T10:44:29.042" v="6368" actId="47"/>
        <pc:sldMkLst>
          <pc:docMk/>
          <pc:sldMk cId="2660611406" sldId="2146845365"/>
        </pc:sldMkLst>
        <pc:spChg chg="mod">
          <ac:chgData name="Gareth Allott" userId="d67bc1e7-5e6e-4540-bcf9-468a02f7a83e" providerId="ADAL" clId="{675B61A9-F42C-4E3D-AB24-B32C150C4589}" dt="2021-03-19T17:54:54.730" v="4428" actId="20577"/>
          <ac:spMkLst>
            <pc:docMk/>
            <pc:sldMk cId="2660611406" sldId="2146845365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7:55:10.090" v="4510" actId="20577"/>
          <ac:spMkLst>
            <pc:docMk/>
            <pc:sldMk cId="2660611406" sldId="2146845365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3.819" v="5296"/>
          <ac:spMkLst>
            <pc:docMk/>
            <pc:sldMk cId="2660611406" sldId="2146845365"/>
            <ac:spMk id="9" creationId="{044CE57A-9D19-484F-9466-F76DCACBF565}"/>
          </ac:spMkLst>
        </pc:spChg>
        <pc:picChg chg="add mod">
          <ac:chgData name="Gareth Allott" userId="d67bc1e7-5e6e-4540-bcf9-468a02f7a83e" providerId="ADAL" clId="{675B61A9-F42C-4E3D-AB24-B32C150C4589}" dt="2021-03-19T18:04:53.819" v="5296"/>
          <ac:picMkLst>
            <pc:docMk/>
            <pc:sldMk cId="2660611406" sldId="2146845365"/>
            <ac:picMk id="7" creationId="{9A3AC8CE-0A62-4D1F-A907-9D774144FF43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3T13:52:13.115" v="9345" actId="20577"/>
        <pc:sldMkLst>
          <pc:docMk/>
          <pc:sldMk cId="1454116732" sldId="2146845366"/>
        </pc:sldMkLst>
        <pc:spChg chg="mod">
          <ac:chgData name="Gareth Allott" userId="d67bc1e7-5e6e-4540-bcf9-468a02f7a83e" providerId="ADAL" clId="{675B61A9-F42C-4E3D-AB24-B32C150C4589}" dt="2021-03-19T17:55:37.146" v="4590" actId="20577"/>
          <ac:spMkLst>
            <pc:docMk/>
            <pc:sldMk cId="1454116732" sldId="2146845366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2T10:45:50.974" v="6372" actId="20577"/>
          <ac:spMkLst>
            <pc:docMk/>
            <pc:sldMk cId="1454116732" sldId="2146845366"/>
            <ac:spMk id="5" creationId="{BCC68F0D-3E61-4D8E-8595-89DA89762F49}"/>
          </ac:spMkLst>
        </pc:spChg>
        <pc:spChg chg="mod">
          <ac:chgData name="Gareth Allott" userId="d67bc1e7-5e6e-4540-bcf9-468a02f7a83e" providerId="ADAL" clId="{675B61A9-F42C-4E3D-AB24-B32C150C4589}" dt="2021-03-23T13:52:13.115" v="9345" actId="20577"/>
          <ac:spMkLst>
            <pc:docMk/>
            <pc:sldMk cId="1454116732" sldId="2146845366"/>
            <ac:spMk id="6" creationId="{99B84020-79A9-4C48-9FEC-E870B6547AF7}"/>
          </ac:spMkLst>
        </pc:spChg>
        <pc:spChg chg="add mod">
          <ac:chgData name="Gareth Allott" userId="d67bc1e7-5e6e-4540-bcf9-468a02f7a83e" providerId="ADAL" clId="{675B61A9-F42C-4E3D-AB24-B32C150C4589}" dt="2021-03-19T18:04:54.455" v="5297"/>
          <ac:spMkLst>
            <pc:docMk/>
            <pc:sldMk cId="1454116732" sldId="2146845366"/>
            <ac:spMk id="9" creationId="{8A0947E3-EB6C-4DCA-B07D-459F32099661}"/>
          </ac:spMkLst>
        </pc:spChg>
        <pc:picChg chg="add mod">
          <ac:chgData name="Gareth Allott" userId="d67bc1e7-5e6e-4540-bcf9-468a02f7a83e" providerId="ADAL" clId="{675B61A9-F42C-4E3D-AB24-B32C150C4589}" dt="2021-03-19T18:04:54.455" v="5297"/>
          <ac:picMkLst>
            <pc:docMk/>
            <pc:sldMk cId="1454116732" sldId="2146845366"/>
            <ac:picMk id="7" creationId="{15963A22-4D0E-4E29-A983-3745A16B1315}"/>
          </ac:picMkLst>
        </pc:picChg>
      </pc:sldChg>
      <pc:sldChg chg="addSp delSp modSp add mod modTransition">
        <pc:chgData name="Gareth Allott" userId="d67bc1e7-5e6e-4540-bcf9-468a02f7a83e" providerId="ADAL" clId="{675B61A9-F42C-4E3D-AB24-B32C150C4589}" dt="2021-03-22T10:47:07.961" v="6374" actId="22"/>
        <pc:sldMkLst>
          <pc:docMk/>
          <pc:sldMk cId="895571966" sldId="2146845367"/>
        </pc:sldMkLst>
        <pc:spChg chg="mod">
          <ac:chgData name="Gareth Allott" userId="d67bc1e7-5e6e-4540-bcf9-468a02f7a83e" providerId="ADAL" clId="{675B61A9-F42C-4E3D-AB24-B32C150C4589}" dt="2021-03-19T17:56:00.542" v="4595" actId="20577"/>
          <ac:spMkLst>
            <pc:docMk/>
            <pc:sldMk cId="895571966" sldId="2146845367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8:02:57.549" v="5274" actId="20577"/>
          <ac:spMkLst>
            <pc:docMk/>
            <pc:sldMk cId="895571966" sldId="2146845367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5.044" v="5298"/>
          <ac:spMkLst>
            <pc:docMk/>
            <pc:sldMk cId="895571966" sldId="2146845367"/>
            <ac:spMk id="9" creationId="{169419BB-7B02-470A-8D4F-820FE0BA6E89}"/>
          </ac:spMkLst>
        </pc:spChg>
        <pc:spChg chg="add del">
          <ac:chgData name="Gareth Allott" userId="d67bc1e7-5e6e-4540-bcf9-468a02f7a83e" providerId="ADAL" clId="{675B61A9-F42C-4E3D-AB24-B32C150C4589}" dt="2021-03-22T10:47:07.961" v="6374" actId="22"/>
          <ac:spMkLst>
            <pc:docMk/>
            <pc:sldMk cId="895571966" sldId="2146845367"/>
            <ac:spMk id="10" creationId="{7BDF6883-3B5C-46BE-8966-B4323800FE96}"/>
          </ac:spMkLst>
        </pc:spChg>
        <pc:picChg chg="add mod">
          <ac:chgData name="Gareth Allott" userId="d67bc1e7-5e6e-4540-bcf9-468a02f7a83e" providerId="ADAL" clId="{675B61A9-F42C-4E3D-AB24-B32C150C4589}" dt="2021-03-19T18:04:55.044" v="5298"/>
          <ac:picMkLst>
            <pc:docMk/>
            <pc:sldMk cId="895571966" sldId="2146845367"/>
            <ac:picMk id="7" creationId="{B85D161B-BD01-43DA-A57A-5318495E6C89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2T10:49:36.828" v="6498" actId="20577"/>
        <pc:sldMkLst>
          <pc:docMk/>
          <pc:sldMk cId="693579894" sldId="2146845368"/>
        </pc:sldMkLst>
        <pc:spChg chg="mod">
          <ac:chgData name="Gareth Allott" userId="d67bc1e7-5e6e-4540-bcf9-468a02f7a83e" providerId="ADAL" clId="{675B61A9-F42C-4E3D-AB24-B32C150C4589}" dt="2021-03-19T17:56:47.170" v="4685" actId="20577"/>
          <ac:spMkLst>
            <pc:docMk/>
            <pc:sldMk cId="693579894" sldId="2146845368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2T10:49:36.828" v="6498" actId="20577"/>
          <ac:spMkLst>
            <pc:docMk/>
            <pc:sldMk cId="693579894" sldId="2146845368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5.668" v="5299"/>
          <ac:spMkLst>
            <pc:docMk/>
            <pc:sldMk cId="693579894" sldId="2146845368"/>
            <ac:spMk id="9" creationId="{4A705BEA-D5DD-409A-8893-8ADD7014B477}"/>
          </ac:spMkLst>
        </pc:spChg>
        <pc:picChg chg="add mod">
          <ac:chgData name="Gareth Allott" userId="d67bc1e7-5e6e-4540-bcf9-468a02f7a83e" providerId="ADAL" clId="{675B61A9-F42C-4E3D-AB24-B32C150C4589}" dt="2021-03-19T18:04:55.668" v="5299"/>
          <ac:picMkLst>
            <pc:docMk/>
            <pc:sldMk cId="693579894" sldId="2146845368"/>
            <ac:picMk id="7" creationId="{98FA27B7-3C5E-48A7-87ED-AF8881E02AD6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2T10:50:18.174" v="6499" actId="115"/>
        <pc:sldMkLst>
          <pc:docMk/>
          <pc:sldMk cId="626259616" sldId="2146845369"/>
        </pc:sldMkLst>
        <pc:spChg chg="mod">
          <ac:chgData name="Gareth Allott" userId="d67bc1e7-5e6e-4540-bcf9-468a02f7a83e" providerId="ADAL" clId="{675B61A9-F42C-4E3D-AB24-B32C150C4589}" dt="2021-03-19T18:01:41.750" v="5185" actId="20577"/>
          <ac:spMkLst>
            <pc:docMk/>
            <pc:sldMk cId="626259616" sldId="2146845369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2T10:50:18.174" v="6499" actId="115"/>
          <ac:spMkLst>
            <pc:docMk/>
            <pc:sldMk cId="626259616" sldId="2146845369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6.300" v="5300"/>
          <ac:spMkLst>
            <pc:docMk/>
            <pc:sldMk cId="626259616" sldId="2146845369"/>
            <ac:spMk id="9" creationId="{491B2B55-EE20-4026-A506-43ACF89E2A6B}"/>
          </ac:spMkLst>
        </pc:spChg>
        <pc:picChg chg="add mod">
          <ac:chgData name="Gareth Allott" userId="d67bc1e7-5e6e-4540-bcf9-468a02f7a83e" providerId="ADAL" clId="{675B61A9-F42C-4E3D-AB24-B32C150C4589}" dt="2021-03-19T18:04:56.300" v="5300"/>
          <ac:picMkLst>
            <pc:docMk/>
            <pc:sldMk cId="626259616" sldId="2146845369"/>
            <ac:picMk id="7" creationId="{B076F1ED-C3D4-477F-95B8-0CA08565B009}"/>
          </ac:picMkLst>
        </pc:picChg>
      </pc:sldChg>
      <pc:sldChg chg="addSp modSp add del mod modTransition">
        <pc:chgData name="Gareth Allott" userId="d67bc1e7-5e6e-4540-bcf9-468a02f7a83e" providerId="ADAL" clId="{675B61A9-F42C-4E3D-AB24-B32C150C4589}" dt="2021-03-22T10:52:41.051" v="6505" actId="47"/>
        <pc:sldMkLst>
          <pc:docMk/>
          <pc:sldMk cId="2756340758" sldId="2146845370"/>
        </pc:sldMkLst>
        <pc:spChg chg="mod">
          <ac:chgData name="Gareth Allott" userId="d67bc1e7-5e6e-4540-bcf9-468a02f7a83e" providerId="ADAL" clId="{675B61A9-F42C-4E3D-AB24-B32C150C4589}" dt="2021-03-19T18:01:53.180" v="5188" actId="20577"/>
          <ac:spMkLst>
            <pc:docMk/>
            <pc:sldMk cId="2756340758" sldId="2146845370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7:58:28.282" v="4914" actId="20577"/>
          <ac:spMkLst>
            <pc:docMk/>
            <pc:sldMk cId="2756340758" sldId="2146845370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6.894" v="5301"/>
          <ac:spMkLst>
            <pc:docMk/>
            <pc:sldMk cId="2756340758" sldId="2146845370"/>
            <ac:spMk id="9" creationId="{889FF8AC-6E69-479B-B1B4-9BBE82A89ED4}"/>
          </ac:spMkLst>
        </pc:spChg>
        <pc:picChg chg="add mod">
          <ac:chgData name="Gareth Allott" userId="d67bc1e7-5e6e-4540-bcf9-468a02f7a83e" providerId="ADAL" clId="{675B61A9-F42C-4E3D-AB24-B32C150C4589}" dt="2021-03-19T18:04:56.894" v="5301"/>
          <ac:picMkLst>
            <pc:docMk/>
            <pc:sldMk cId="2756340758" sldId="2146845370"/>
            <ac:picMk id="7" creationId="{B9FCAACC-4261-4378-A945-07AE08981926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3T13:22:19.104" v="8483" actId="20577"/>
        <pc:sldMkLst>
          <pc:docMk/>
          <pc:sldMk cId="4127049280" sldId="2146845371"/>
        </pc:sldMkLst>
        <pc:spChg chg="mod">
          <ac:chgData name="Gareth Allott" userId="d67bc1e7-5e6e-4540-bcf9-468a02f7a83e" providerId="ADAL" clId="{675B61A9-F42C-4E3D-AB24-B32C150C4589}" dt="2021-03-22T10:41:19.364" v="6209" actId="20577"/>
          <ac:spMkLst>
            <pc:docMk/>
            <pc:sldMk cId="4127049280" sldId="2146845371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19T18:00:06.427" v="5095" actId="20577"/>
          <ac:spMkLst>
            <pc:docMk/>
            <pc:sldMk cId="4127049280" sldId="2146845371"/>
            <ac:spMk id="5" creationId="{BCC68F0D-3E61-4D8E-8595-89DA89762F49}"/>
          </ac:spMkLst>
        </pc:spChg>
        <pc:spChg chg="mod">
          <ac:chgData name="Gareth Allott" userId="d67bc1e7-5e6e-4540-bcf9-468a02f7a83e" providerId="ADAL" clId="{675B61A9-F42C-4E3D-AB24-B32C150C4589}" dt="2021-03-23T13:22:19.104" v="8483" actId="20577"/>
          <ac:spMkLst>
            <pc:docMk/>
            <pc:sldMk cId="4127049280" sldId="2146845371"/>
            <ac:spMk id="6" creationId="{99B84020-79A9-4C48-9FEC-E870B6547AF7}"/>
          </ac:spMkLst>
        </pc:spChg>
        <pc:spChg chg="add mod">
          <ac:chgData name="Gareth Allott" userId="d67bc1e7-5e6e-4540-bcf9-468a02f7a83e" providerId="ADAL" clId="{675B61A9-F42C-4E3D-AB24-B32C150C4589}" dt="2021-03-19T18:04:49.604" v="5291"/>
          <ac:spMkLst>
            <pc:docMk/>
            <pc:sldMk cId="4127049280" sldId="2146845371"/>
            <ac:spMk id="9" creationId="{4E6E9488-B78C-47FF-89A7-E4267470192E}"/>
          </ac:spMkLst>
        </pc:spChg>
        <pc:picChg chg="add mod">
          <ac:chgData name="Gareth Allott" userId="d67bc1e7-5e6e-4540-bcf9-468a02f7a83e" providerId="ADAL" clId="{675B61A9-F42C-4E3D-AB24-B32C150C4589}" dt="2021-03-19T18:04:49.604" v="5291"/>
          <ac:picMkLst>
            <pc:docMk/>
            <pc:sldMk cId="4127049280" sldId="2146845371"/>
            <ac:picMk id="7" creationId="{E4D76EA3-0927-48F1-BE27-2F6112D2F869}"/>
          </ac:picMkLst>
        </pc:picChg>
      </pc:sldChg>
      <pc:sldChg chg="addSp modSp add mod modTransition">
        <pc:chgData name="Gareth Allott" userId="d67bc1e7-5e6e-4540-bcf9-468a02f7a83e" providerId="ADAL" clId="{675B61A9-F42C-4E3D-AB24-B32C150C4589}" dt="2021-03-23T13:33:53.188" v="8824" actId="113"/>
        <pc:sldMkLst>
          <pc:docMk/>
          <pc:sldMk cId="41267932" sldId="2146845372"/>
        </pc:sldMkLst>
        <pc:spChg chg="mod">
          <ac:chgData name="Gareth Allott" userId="d67bc1e7-5e6e-4540-bcf9-468a02f7a83e" providerId="ADAL" clId="{675B61A9-F42C-4E3D-AB24-B32C150C4589}" dt="2021-03-19T18:00:45.748" v="5100" actId="20577"/>
          <ac:spMkLst>
            <pc:docMk/>
            <pc:sldMk cId="41267932" sldId="2146845372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3T13:33:34.085" v="8790" actId="20577"/>
          <ac:spMkLst>
            <pc:docMk/>
            <pc:sldMk cId="41267932" sldId="2146845372"/>
            <ac:spMk id="5" creationId="{BCC68F0D-3E61-4D8E-8595-89DA89762F49}"/>
          </ac:spMkLst>
        </pc:spChg>
        <pc:spChg chg="mod">
          <ac:chgData name="Gareth Allott" userId="d67bc1e7-5e6e-4540-bcf9-468a02f7a83e" providerId="ADAL" clId="{675B61A9-F42C-4E3D-AB24-B32C150C4589}" dt="2021-03-23T13:33:53.188" v="8824" actId="113"/>
          <ac:spMkLst>
            <pc:docMk/>
            <pc:sldMk cId="41267932" sldId="2146845372"/>
            <ac:spMk id="6" creationId="{99B84020-79A9-4C48-9FEC-E870B6547AF7}"/>
          </ac:spMkLst>
        </pc:spChg>
        <pc:spChg chg="add mod">
          <ac:chgData name="Gareth Allott" userId="d67bc1e7-5e6e-4540-bcf9-468a02f7a83e" providerId="ADAL" clId="{675B61A9-F42C-4E3D-AB24-B32C150C4589}" dt="2021-03-19T18:04:51.987" v="5293"/>
          <ac:spMkLst>
            <pc:docMk/>
            <pc:sldMk cId="41267932" sldId="2146845372"/>
            <ac:spMk id="9" creationId="{73E32226-0695-4F8C-A71A-3C3ED98146BE}"/>
          </ac:spMkLst>
        </pc:spChg>
        <pc:spChg chg="add mod">
          <ac:chgData name="Gareth Allott" userId="d67bc1e7-5e6e-4540-bcf9-468a02f7a83e" providerId="ADAL" clId="{675B61A9-F42C-4E3D-AB24-B32C150C4589}" dt="2021-03-22T10:41:43.964" v="6211"/>
          <ac:spMkLst>
            <pc:docMk/>
            <pc:sldMk cId="41267932" sldId="2146845372"/>
            <ac:spMk id="10" creationId="{25533BD9-24A4-4F8C-88AB-0DFE7D3AAC5C}"/>
          </ac:spMkLst>
        </pc:spChg>
        <pc:picChg chg="add mod">
          <ac:chgData name="Gareth Allott" userId="d67bc1e7-5e6e-4540-bcf9-468a02f7a83e" providerId="ADAL" clId="{675B61A9-F42C-4E3D-AB24-B32C150C4589}" dt="2021-03-19T18:04:51.987" v="5293"/>
          <ac:picMkLst>
            <pc:docMk/>
            <pc:sldMk cId="41267932" sldId="2146845372"/>
            <ac:picMk id="7" creationId="{94CFA41B-CF3F-4355-88A5-794F2FD54D27}"/>
          </ac:picMkLst>
        </pc:picChg>
      </pc:sldChg>
      <pc:sldChg chg="modSp add del mod">
        <pc:chgData name="Gareth Allott" userId="d67bc1e7-5e6e-4540-bcf9-468a02f7a83e" providerId="ADAL" clId="{675B61A9-F42C-4E3D-AB24-B32C150C4589}" dt="2021-03-19T18:02:04.382" v="5193" actId="47"/>
        <pc:sldMkLst>
          <pc:docMk/>
          <pc:sldMk cId="1377648857" sldId="2146845373"/>
        </pc:sldMkLst>
        <pc:spChg chg="mod">
          <ac:chgData name="Gareth Allott" userId="d67bc1e7-5e6e-4540-bcf9-468a02f7a83e" providerId="ADAL" clId="{675B61A9-F42C-4E3D-AB24-B32C150C4589}" dt="2021-03-19T18:01:57.523" v="5191" actId="20577"/>
          <ac:spMkLst>
            <pc:docMk/>
            <pc:sldMk cId="1377648857" sldId="2146845373"/>
            <ac:spMk id="2" creationId="{ED2FC044-BEDA-42E8-913B-B30EC113F11D}"/>
          </ac:spMkLst>
        </pc:spChg>
      </pc:sldChg>
      <pc:sldChg chg="addSp delSp modSp add del mod modTransition">
        <pc:chgData name="Gareth Allott" userId="d67bc1e7-5e6e-4540-bcf9-468a02f7a83e" providerId="ADAL" clId="{675B61A9-F42C-4E3D-AB24-B32C150C4589}" dt="2021-03-22T10:45:45.256" v="6369" actId="47"/>
        <pc:sldMkLst>
          <pc:docMk/>
          <pc:sldMk cId="2929216834" sldId="2146845374"/>
        </pc:sldMkLst>
        <pc:spChg chg="mod">
          <ac:chgData name="Gareth Allott" userId="d67bc1e7-5e6e-4540-bcf9-468a02f7a83e" providerId="ADAL" clId="{675B61A9-F42C-4E3D-AB24-B32C150C4589}" dt="2021-03-19T18:02:19.036" v="5246" actId="20577"/>
          <ac:spMkLst>
            <pc:docMk/>
            <pc:sldMk cId="2929216834" sldId="2146845374"/>
            <ac:spMk id="5" creationId="{BCC68F0D-3E61-4D8E-8595-89DA89762F49}"/>
          </ac:spMkLst>
        </pc:spChg>
        <pc:spChg chg="add mod">
          <ac:chgData name="Gareth Allott" userId="d67bc1e7-5e6e-4540-bcf9-468a02f7a83e" providerId="ADAL" clId="{675B61A9-F42C-4E3D-AB24-B32C150C4589}" dt="2021-03-19T18:04:57.515" v="5302"/>
          <ac:spMkLst>
            <pc:docMk/>
            <pc:sldMk cId="2929216834" sldId="2146845374"/>
            <ac:spMk id="9" creationId="{24FF3EE5-A332-4F5A-BA19-27E671A27CA4}"/>
          </ac:spMkLst>
        </pc:spChg>
        <pc:spChg chg="add del mod">
          <ac:chgData name="Gareth Allott" userId="d67bc1e7-5e6e-4540-bcf9-468a02f7a83e" providerId="ADAL" clId="{675B61A9-F42C-4E3D-AB24-B32C150C4589}" dt="2021-03-19T18:04:59.722" v="5304"/>
          <ac:spMkLst>
            <pc:docMk/>
            <pc:sldMk cId="2929216834" sldId="2146845374"/>
            <ac:spMk id="11" creationId="{3EBF68D1-A3EB-4AAC-8203-3D17000999EB}"/>
          </ac:spMkLst>
        </pc:spChg>
        <pc:picChg chg="add mod">
          <ac:chgData name="Gareth Allott" userId="d67bc1e7-5e6e-4540-bcf9-468a02f7a83e" providerId="ADAL" clId="{675B61A9-F42C-4E3D-AB24-B32C150C4589}" dt="2021-03-19T18:04:57.515" v="5302"/>
          <ac:picMkLst>
            <pc:docMk/>
            <pc:sldMk cId="2929216834" sldId="2146845374"/>
            <ac:picMk id="7" creationId="{E2733354-0790-4B0E-8430-C2C28082387D}"/>
          </ac:picMkLst>
        </pc:picChg>
        <pc:picChg chg="add del mod">
          <ac:chgData name="Gareth Allott" userId="d67bc1e7-5e6e-4540-bcf9-468a02f7a83e" providerId="ADAL" clId="{675B61A9-F42C-4E3D-AB24-B32C150C4589}" dt="2021-03-19T18:04:59.722" v="5304"/>
          <ac:picMkLst>
            <pc:docMk/>
            <pc:sldMk cId="2929216834" sldId="2146845374"/>
            <ac:picMk id="10" creationId="{49086DB0-D549-442C-B2E9-A076FAF2D0EC}"/>
          </ac:picMkLst>
        </pc:picChg>
      </pc:sldChg>
      <pc:sldChg chg="addSp delSp modSp mod modTransition">
        <pc:chgData name="Gareth Allott" userId="d67bc1e7-5e6e-4540-bcf9-468a02f7a83e" providerId="ADAL" clId="{675B61A9-F42C-4E3D-AB24-B32C150C4589}" dt="2021-03-21T17:41:05.455" v="6099"/>
        <pc:sldMkLst>
          <pc:docMk/>
          <pc:sldMk cId="333559028" sldId="2146845375"/>
        </pc:sldMkLst>
        <pc:spChg chg="mod">
          <ac:chgData name="Gareth Allott" userId="d67bc1e7-5e6e-4540-bcf9-468a02f7a83e" providerId="ADAL" clId="{675B61A9-F42C-4E3D-AB24-B32C150C4589}" dt="2021-03-19T18:06:31.333" v="5545" actId="1035"/>
          <ac:spMkLst>
            <pc:docMk/>
            <pc:sldMk cId="333559028" sldId="2146845375"/>
            <ac:spMk id="6" creationId="{936033E8-EE77-4763-99D5-806377702814}"/>
          </ac:spMkLst>
        </pc:spChg>
        <pc:spChg chg="add del mod">
          <ac:chgData name="Gareth Allott" userId="d67bc1e7-5e6e-4540-bcf9-468a02f7a83e" providerId="ADAL" clId="{675B61A9-F42C-4E3D-AB24-B32C150C4589}" dt="2021-03-19T18:06:22.077" v="5520" actId="478"/>
          <ac:spMkLst>
            <pc:docMk/>
            <pc:sldMk cId="333559028" sldId="2146845375"/>
            <ac:spMk id="7" creationId="{8B6A1142-8205-4310-8DA1-F1F4C897C555}"/>
          </ac:spMkLst>
        </pc:spChg>
        <pc:spChg chg="del">
          <ac:chgData name="Gareth Allott" userId="d67bc1e7-5e6e-4540-bcf9-468a02f7a83e" providerId="ADAL" clId="{675B61A9-F42C-4E3D-AB24-B32C150C4589}" dt="2021-03-19T18:06:16.679" v="5519" actId="478"/>
          <ac:spMkLst>
            <pc:docMk/>
            <pc:sldMk cId="333559028" sldId="2146845375"/>
            <ac:spMk id="10" creationId="{BD2EC3DB-7D26-4402-BD3D-4D871CE41547}"/>
          </ac:spMkLst>
        </pc:spChg>
        <pc:spChg chg="mod">
          <ac:chgData name="Gareth Allott" userId="d67bc1e7-5e6e-4540-bcf9-468a02f7a83e" providerId="ADAL" clId="{675B61A9-F42C-4E3D-AB24-B32C150C4589}" dt="2021-03-19T18:06:14.341" v="5518" actId="14100"/>
          <ac:spMkLst>
            <pc:docMk/>
            <pc:sldMk cId="333559028" sldId="2146845375"/>
            <ac:spMk id="15" creationId="{AF557E73-DA78-4598-AFD3-CFEBB979F877}"/>
          </ac:spMkLst>
        </pc:spChg>
        <pc:picChg chg="add mod">
          <ac:chgData name="Gareth Allott" userId="d67bc1e7-5e6e-4540-bcf9-468a02f7a83e" providerId="ADAL" clId="{675B61A9-F42C-4E3D-AB24-B32C150C4589}" dt="2021-03-19T18:06:51.590" v="5566" actId="1037"/>
          <ac:picMkLst>
            <pc:docMk/>
            <pc:sldMk cId="333559028" sldId="2146845375"/>
            <ac:picMk id="11" creationId="{5D929EDE-CC14-44E4-88CB-A328CF907591}"/>
          </ac:picMkLst>
        </pc:picChg>
        <pc:picChg chg="del">
          <ac:chgData name="Gareth Allott" userId="d67bc1e7-5e6e-4540-bcf9-468a02f7a83e" providerId="ADAL" clId="{675B61A9-F42C-4E3D-AB24-B32C150C4589}" dt="2021-03-19T18:06:16.679" v="5519" actId="478"/>
          <ac:picMkLst>
            <pc:docMk/>
            <pc:sldMk cId="333559028" sldId="2146845375"/>
            <ac:picMk id="14" creationId="{2E1C4D8D-F710-4A92-B035-CA9423A3604A}"/>
          </ac:picMkLst>
        </pc:picChg>
        <pc:cxnChg chg="mod">
          <ac:chgData name="Gareth Allott" userId="d67bc1e7-5e6e-4540-bcf9-468a02f7a83e" providerId="ADAL" clId="{675B61A9-F42C-4E3D-AB24-B32C150C4589}" dt="2021-03-19T18:05:29.792" v="5331" actId="1035"/>
          <ac:cxnSpMkLst>
            <pc:docMk/>
            <pc:sldMk cId="333559028" sldId="2146845375"/>
            <ac:cxnSpMk id="8" creationId="{C39506B6-5D94-4152-A59B-FE6AECB30CAB}"/>
          </ac:cxnSpMkLst>
        </pc:cxnChg>
        <pc:cxnChg chg="mod">
          <ac:chgData name="Gareth Allott" userId="d67bc1e7-5e6e-4540-bcf9-468a02f7a83e" providerId="ADAL" clId="{675B61A9-F42C-4E3D-AB24-B32C150C4589}" dt="2021-03-19T18:06:29.173" v="5540" actId="1035"/>
          <ac:cxnSpMkLst>
            <pc:docMk/>
            <pc:sldMk cId="333559028" sldId="2146845375"/>
            <ac:cxnSpMk id="16" creationId="{4E2D8F17-A1AA-48FD-ADA1-E2B76216932E}"/>
          </ac:cxnSpMkLst>
        </pc:cxnChg>
      </pc:sldChg>
      <pc:sldChg chg="addSp modSp add mod modTransition">
        <pc:chgData name="Gareth Allott" userId="d67bc1e7-5e6e-4540-bcf9-468a02f7a83e" providerId="ADAL" clId="{675B61A9-F42C-4E3D-AB24-B32C150C4589}" dt="2021-03-22T10:53:21.153" v="6507" actId="1076"/>
        <pc:sldMkLst>
          <pc:docMk/>
          <pc:sldMk cId="1382041104" sldId="2146845376"/>
        </pc:sldMkLst>
        <pc:spChg chg="mod">
          <ac:chgData name="Gareth Allott" userId="d67bc1e7-5e6e-4540-bcf9-468a02f7a83e" providerId="ADAL" clId="{675B61A9-F42C-4E3D-AB24-B32C150C4589}" dt="2021-03-21T08:59:09.258" v="5750" actId="20577"/>
          <ac:spMkLst>
            <pc:docMk/>
            <pc:sldMk cId="1382041104" sldId="2146845376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1T08:59:54.172" v="5881" actId="20577"/>
          <ac:spMkLst>
            <pc:docMk/>
            <pc:sldMk cId="1382041104" sldId="2146845376"/>
            <ac:spMk id="5" creationId="{BCC68F0D-3E61-4D8E-8595-89DA89762F49}"/>
          </ac:spMkLst>
        </pc:spChg>
        <pc:spChg chg="mod">
          <ac:chgData name="Gareth Allott" userId="d67bc1e7-5e6e-4540-bcf9-468a02f7a83e" providerId="ADAL" clId="{675B61A9-F42C-4E3D-AB24-B32C150C4589}" dt="2021-03-21T09:00:01.199" v="5882" actId="14100"/>
          <ac:spMkLst>
            <pc:docMk/>
            <pc:sldMk cId="1382041104" sldId="2146845376"/>
            <ac:spMk id="6" creationId="{99B84020-79A9-4C48-9FEC-E870B6547AF7}"/>
          </ac:spMkLst>
        </pc:spChg>
        <pc:spChg chg="mod">
          <ac:chgData name="Gareth Allott" userId="d67bc1e7-5e6e-4540-bcf9-468a02f7a83e" providerId="ADAL" clId="{675B61A9-F42C-4E3D-AB24-B32C150C4589}" dt="2021-03-21T09:00:06.363" v="5883" actId="1076"/>
          <ac:spMkLst>
            <pc:docMk/>
            <pc:sldMk cId="1382041104" sldId="2146845376"/>
            <ac:spMk id="9" creationId="{24FF3EE5-A332-4F5A-BA19-27E671A27CA4}"/>
          </ac:spMkLst>
        </pc:spChg>
        <pc:picChg chg="add mod ord">
          <ac:chgData name="Gareth Allott" userId="d67bc1e7-5e6e-4540-bcf9-468a02f7a83e" providerId="ADAL" clId="{675B61A9-F42C-4E3D-AB24-B32C150C4589}" dt="2021-03-21T09:01:15.363" v="5936" actId="1036"/>
          <ac:picMkLst>
            <pc:docMk/>
            <pc:sldMk cId="1382041104" sldId="2146845376"/>
            <ac:picMk id="3" creationId="{59254E50-E625-461C-BA24-77E98AE26F3C}"/>
          </ac:picMkLst>
        </pc:picChg>
        <pc:picChg chg="mod">
          <ac:chgData name="Gareth Allott" userId="d67bc1e7-5e6e-4540-bcf9-468a02f7a83e" providerId="ADAL" clId="{675B61A9-F42C-4E3D-AB24-B32C150C4589}" dt="2021-03-21T09:00:06.363" v="5883" actId="1076"/>
          <ac:picMkLst>
            <pc:docMk/>
            <pc:sldMk cId="1382041104" sldId="2146845376"/>
            <ac:picMk id="7" creationId="{E2733354-0790-4B0E-8430-C2C28082387D}"/>
          </ac:picMkLst>
        </pc:picChg>
        <pc:picChg chg="add mod">
          <ac:chgData name="Gareth Allott" userId="d67bc1e7-5e6e-4540-bcf9-468a02f7a83e" providerId="ADAL" clId="{675B61A9-F42C-4E3D-AB24-B32C150C4589}" dt="2021-03-22T10:53:21.153" v="6507" actId="1076"/>
          <ac:picMkLst>
            <pc:docMk/>
            <pc:sldMk cId="1382041104" sldId="2146845376"/>
            <ac:picMk id="10" creationId="{E2482969-3104-4F79-A9B6-7800B52DCF83}"/>
          </ac:picMkLst>
        </pc:picChg>
      </pc:sldChg>
      <pc:sldChg chg="addSp delSp modSp mod modTransition">
        <pc:chgData name="Gareth Allott" userId="d67bc1e7-5e6e-4540-bcf9-468a02f7a83e" providerId="ADAL" clId="{675B61A9-F42C-4E3D-AB24-B32C150C4589}" dt="2021-03-21T17:41:05.455" v="6099"/>
        <pc:sldMkLst>
          <pc:docMk/>
          <pc:sldMk cId="667098325" sldId="2146845377"/>
        </pc:sldMkLst>
        <pc:spChg chg="mod">
          <ac:chgData name="Gareth Allott" userId="d67bc1e7-5e6e-4540-bcf9-468a02f7a83e" providerId="ADAL" clId="{675B61A9-F42C-4E3D-AB24-B32C150C4589}" dt="2021-03-21T09:34:49.632" v="5938" actId="20577"/>
          <ac:spMkLst>
            <pc:docMk/>
            <pc:sldMk cId="667098325" sldId="2146845377"/>
            <ac:spMk id="2" creationId="{ED2FC044-BEDA-42E8-913B-B30EC113F11D}"/>
          </ac:spMkLst>
        </pc:spChg>
        <pc:spChg chg="mod">
          <ac:chgData name="Gareth Allott" userId="d67bc1e7-5e6e-4540-bcf9-468a02f7a83e" providerId="ADAL" clId="{675B61A9-F42C-4E3D-AB24-B32C150C4589}" dt="2021-03-21T09:35:00.693" v="5968" actId="5793"/>
          <ac:spMkLst>
            <pc:docMk/>
            <pc:sldMk cId="667098325" sldId="2146845377"/>
            <ac:spMk id="5" creationId="{BCC68F0D-3E61-4D8E-8595-89DA89762F49}"/>
          </ac:spMkLst>
        </pc:spChg>
        <pc:picChg chg="del">
          <ac:chgData name="Gareth Allott" userId="d67bc1e7-5e6e-4540-bcf9-468a02f7a83e" providerId="ADAL" clId="{675B61A9-F42C-4E3D-AB24-B32C150C4589}" dt="2021-03-21T09:35:03.689" v="5969" actId="478"/>
          <ac:picMkLst>
            <pc:docMk/>
            <pc:sldMk cId="667098325" sldId="2146845377"/>
            <ac:picMk id="3" creationId="{59254E50-E625-461C-BA24-77E98AE26F3C}"/>
          </ac:picMkLst>
        </pc:picChg>
        <pc:picChg chg="add mod">
          <ac:chgData name="Gareth Allott" userId="d67bc1e7-5e6e-4540-bcf9-468a02f7a83e" providerId="ADAL" clId="{675B61A9-F42C-4E3D-AB24-B32C150C4589}" dt="2021-03-21T09:35:30.907" v="5991" actId="1036"/>
          <ac:picMkLst>
            <pc:docMk/>
            <pc:sldMk cId="667098325" sldId="2146845377"/>
            <ac:picMk id="4" creationId="{EED0B9FA-2736-4C7A-8FCD-D1AE4FC27682}"/>
          </ac:picMkLst>
        </pc:picChg>
        <pc:picChg chg="del">
          <ac:chgData name="Gareth Allott" userId="d67bc1e7-5e6e-4540-bcf9-468a02f7a83e" providerId="ADAL" clId="{675B61A9-F42C-4E3D-AB24-B32C150C4589}" dt="2021-03-21T09:35:03.689" v="5969" actId="478"/>
          <ac:picMkLst>
            <pc:docMk/>
            <pc:sldMk cId="667098325" sldId="2146845377"/>
            <ac:picMk id="10" creationId="{E2482969-3104-4F79-A9B6-7800B52DCF83}"/>
          </ac:picMkLst>
        </pc:picChg>
      </pc:sldChg>
      <pc:sldChg chg="addSp delSp modSp add mod modTransition modClrScheme chgLayout">
        <pc:chgData name="Gareth Allott" userId="d67bc1e7-5e6e-4540-bcf9-468a02f7a83e" providerId="ADAL" clId="{675B61A9-F42C-4E3D-AB24-B32C150C4589}" dt="2021-03-22T10:34:46.115" v="6102" actId="20577"/>
        <pc:sldMkLst>
          <pc:docMk/>
          <pc:sldMk cId="4040066003" sldId="2146845378"/>
        </pc:sldMkLst>
        <pc:spChg chg="del mod ord">
          <ac:chgData name="Gareth Allott" userId="d67bc1e7-5e6e-4540-bcf9-468a02f7a83e" providerId="ADAL" clId="{675B61A9-F42C-4E3D-AB24-B32C150C4589}" dt="2021-03-21T17:38:24.065" v="6024" actId="478"/>
          <ac:spMkLst>
            <pc:docMk/>
            <pc:sldMk cId="4040066003" sldId="2146845378"/>
            <ac:spMk id="4" creationId="{D2277DBE-461D-4DDA-9B8F-742C262BF4DB}"/>
          </ac:spMkLst>
        </pc:spChg>
        <pc:spChg chg="del mod ord">
          <ac:chgData name="Gareth Allott" userId="d67bc1e7-5e6e-4540-bcf9-468a02f7a83e" providerId="ADAL" clId="{675B61A9-F42C-4E3D-AB24-B32C150C4589}" dt="2021-03-21T17:38:24.065" v="6024" actId="478"/>
          <ac:spMkLst>
            <pc:docMk/>
            <pc:sldMk cId="4040066003" sldId="2146845378"/>
            <ac:spMk id="5" creationId="{0FB0B37C-9D40-4F3E-AC75-E60AEE25EFC3}"/>
          </ac:spMkLst>
        </pc:spChg>
        <pc:spChg chg="add mod">
          <ac:chgData name="Gareth Allott" userId="d67bc1e7-5e6e-4540-bcf9-468a02f7a83e" providerId="ADAL" clId="{675B61A9-F42C-4E3D-AB24-B32C150C4589}" dt="2021-03-21T17:40:06.534" v="6083" actId="1076"/>
          <ac:spMkLst>
            <pc:docMk/>
            <pc:sldMk cId="4040066003" sldId="2146845378"/>
            <ac:spMk id="7" creationId="{B5DDCAD4-B544-4BA6-8202-AFDF9A70B494}"/>
          </ac:spMkLst>
        </pc:spChg>
        <pc:spChg chg="add mod">
          <ac:chgData name="Gareth Allott" userId="d67bc1e7-5e6e-4540-bcf9-468a02f7a83e" providerId="ADAL" clId="{675B61A9-F42C-4E3D-AB24-B32C150C4589}" dt="2021-03-22T10:34:46.115" v="6102" actId="20577"/>
          <ac:spMkLst>
            <pc:docMk/>
            <pc:sldMk cId="4040066003" sldId="2146845378"/>
            <ac:spMk id="8" creationId="{45F715D4-0440-4F2A-B10A-C5E6679D8E46}"/>
          </ac:spMkLst>
        </pc:spChg>
        <pc:spChg chg="add del mod">
          <ac:chgData name="Gareth Allott" userId="d67bc1e7-5e6e-4540-bcf9-468a02f7a83e" providerId="ADAL" clId="{675B61A9-F42C-4E3D-AB24-B32C150C4589}" dt="2021-03-21T17:38:47.693" v="6040" actId="478"/>
          <ac:spMkLst>
            <pc:docMk/>
            <pc:sldMk cId="4040066003" sldId="2146845378"/>
            <ac:spMk id="10" creationId="{F442B7A0-703C-4CED-8FB0-BE5917624B83}"/>
          </ac:spMkLst>
        </pc:spChg>
        <pc:spChg chg="add mod">
          <ac:chgData name="Gareth Allott" userId="d67bc1e7-5e6e-4540-bcf9-468a02f7a83e" providerId="ADAL" clId="{675B61A9-F42C-4E3D-AB24-B32C150C4589}" dt="2021-03-21T17:40:35.732" v="6098" actId="20577"/>
          <ac:spMkLst>
            <pc:docMk/>
            <pc:sldMk cId="4040066003" sldId="2146845378"/>
            <ac:spMk id="13" creationId="{2469A092-A161-4D41-88A5-0ACDFCE29DF5}"/>
          </ac:spMkLst>
        </pc:spChg>
        <pc:picChg chg="add mod ord modCrop">
          <ac:chgData name="Gareth Allott" userId="d67bc1e7-5e6e-4540-bcf9-468a02f7a83e" providerId="ADAL" clId="{675B61A9-F42C-4E3D-AB24-B32C150C4589}" dt="2021-03-21T17:40:03.712" v="6082" actId="167"/>
          <ac:picMkLst>
            <pc:docMk/>
            <pc:sldMk cId="4040066003" sldId="2146845378"/>
            <ac:picMk id="3" creationId="{DE9240B9-B268-46DA-8919-F0E5E5390426}"/>
          </ac:picMkLst>
        </pc:picChg>
        <pc:picChg chg="add del mod">
          <ac:chgData name="Gareth Allott" userId="d67bc1e7-5e6e-4540-bcf9-468a02f7a83e" providerId="ADAL" clId="{675B61A9-F42C-4E3D-AB24-B32C150C4589}" dt="2021-03-21T17:39:45.474" v="6075" actId="478"/>
          <ac:picMkLst>
            <pc:docMk/>
            <pc:sldMk cId="4040066003" sldId="2146845378"/>
            <ac:picMk id="6" creationId="{DF051321-5261-4804-9D15-474211922538}"/>
          </ac:picMkLst>
        </pc:picChg>
        <pc:picChg chg="add mod">
          <ac:chgData name="Gareth Allott" userId="d67bc1e7-5e6e-4540-bcf9-468a02f7a83e" providerId="ADAL" clId="{675B61A9-F42C-4E3D-AB24-B32C150C4589}" dt="2021-03-21T17:40:16.122" v="6084"/>
          <ac:picMkLst>
            <pc:docMk/>
            <pc:sldMk cId="4040066003" sldId="2146845378"/>
            <ac:picMk id="15" creationId="{536587D1-A4F4-4D0D-A6EA-70D353414960}"/>
          </ac:picMkLst>
        </pc:picChg>
        <pc:cxnChg chg="add del mod">
          <ac:chgData name="Gareth Allott" userId="d67bc1e7-5e6e-4540-bcf9-468a02f7a83e" providerId="ADAL" clId="{675B61A9-F42C-4E3D-AB24-B32C150C4589}" dt="2021-03-21T17:38:47.693" v="6040" actId="478"/>
          <ac:cxnSpMkLst>
            <pc:docMk/>
            <pc:sldMk cId="4040066003" sldId="2146845378"/>
            <ac:cxnSpMk id="9" creationId="{9BF79AA2-6928-4459-9C5A-578918CC1C20}"/>
          </ac:cxnSpMkLst>
        </pc:cxnChg>
        <pc:cxnChg chg="add del mod">
          <ac:chgData name="Gareth Allott" userId="d67bc1e7-5e6e-4540-bcf9-468a02f7a83e" providerId="ADAL" clId="{675B61A9-F42C-4E3D-AB24-B32C150C4589}" dt="2021-03-21T17:38:47.693" v="6040" actId="478"/>
          <ac:cxnSpMkLst>
            <pc:docMk/>
            <pc:sldMk cId="4040066003" sldId="2146845378"/>
            <ac:cxnSpMk id="11" creationId="{D71DA033-D9AD-4BEA-B22E-01A117B10A66}"/>
          </ac:cxnSpMkLst>
        </pc:cxnChg>
        <pc:cxnChg chg="add mod">
          <ac:chgData name="Gareth Allott" userId="d67bc1e7-5e6e-4540-bcf9-468a02f7a83e" providerId="ADAL" clId="{675B61A9-F42C-4E3D-AB24-B32C150C4589}" dt="2021-03-21T17:38:49.832" v="6046" actId="1035"/>
          <ac:cxnSpMkLst>
            <pc:docMk/>
            <pc:sldMk cId="4040066003" sldId="2146845378"/>
            <ac:cxnSpMk id="12" creationId="{6386028D-BB43-4C82-B42F-AD37BD3C1BDD}"/>
          </ac:cxnSpMkLst>
        </pc:cxnChg>
        <pc:cxnChg chg="add mod">
          <ac:chgData name="Gareth Allott" userId="d67bc1e7-5e6e-4540-bcf9-468a02f7a83e" providerId="ADAL" clId="{675B61A9-F42C-4E3D-AB24-B32C150C4589}" dt="2021-03-21T17:38:49.832" v="6046" actId="1035"/>
          <ac:cxnSpMkLst>
            <pc:docMk/>
            <pc:sldMk cId="4040066003" sldId="2146845378"/>
            <ac:cxnSpMk id="14" creationId="{61992EF8-3C27-42E1-B089-917F5A790DD1}"/>
          </ac:cxnSpMkLst>
        </pc:cxnChg>
      </pc:sldChg>
      <pc:sldChg chg="add">
        <pc:chgData name="Gareth Allott" userId="d67bc1e7-5e6e-4540-bcf9-468a02f7a83e" providerId="ADAL" clId="{675B61A9-F42C-4E3D-AB24-B32C150C4589}" dt="2021-03-25T14:35:13.119" v="9346"/>
        <pc:sldMkLst>
          <pc:docMk/>
          <pc:sldMk cId="636563377" sldId="214684538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B512ED-B612-4214-B191-080E89EF6D5A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ED4A65-7337-4A21-B7E4-A1EFDD4A7B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012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13870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303390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23313773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318695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21406424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441340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04138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28652873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955778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5085982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6807889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223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75282461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44297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879811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185528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425817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8096046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351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044648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447753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63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976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8573126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650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446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650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33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991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889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168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092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902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63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567577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9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47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494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029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08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138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73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413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41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528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1993213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376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605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29246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6492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262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948665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913923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543329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67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736841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030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296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2.xml"/><Relationship Id="rId6" Type="http://schemas.microsoft.com/office/2007/relationships/hdphoto" Target="../media/hdphoto1.wdp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sv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HCP Journey </a:t>
            </a:r>
            <a:r>
              <a:rPr lang="en-GB" sz="2400" b="1">
                <a:solidFill>
                  <a:schemeClr val="accent1"/>
                </a:solidFill>
              </a:rPr>
              <a:t>Workshop 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uesday 23rd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solidFill>
                  <a:prstClr val="white"/>
                </a:solidFill>
                <a:latin typeface="Tahoma"/>
              </a:rPr>
              <a:t>Core project team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06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Propos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Aligned to Adoption Ladder (with specific alignment to events)</a:t>
            </a:r>
          </a:p>
          <a:p>
            <a:pPr marL="0" indent="0">
              <a:buNone/>
            </a:pPr>
            <a:r>
              <a:rPr lang="en-GB" b="1" i="1">
                <a:solidFill>
                  <a:schemeClr val="accent1"/>
                </a:solidFill>
              </a:rPr>
              <a:t>1-3/4 step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ecil: ‘cycle' is belongs to GLPG way of working in sales teams – easier to execute in rep cycle plan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latin typeface="Tahoma" pitchFamily="-107" charset="0"/>
              </a:rPr>
              <a:t>UK have an OC plan, with monthly check-ins (calendar-focus?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latin typeface="Tahoma" pitchFamily="-107" charset="0"/>
              </a:rPr>
              <a:t>(use local cycle plan to help define the number of touchpoints for a journey in a timeframe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>
                <a:highlight>
                  <a:srgbClr val="FFFF00"/>
                </a:highlight>
                <a:latin typeface="Tahoma" pitchFamily="-107" charset="0"/>
              </a:rPr>
              <a:t>International aligned to Adoption – and then offer calendar alignment at the local level for pragmatic execution </a:t>
            </a:r>
            <a:r>
              <a:rPr lang="en-GB" sz="1400" dirty="0">
                <a:latin typeface="Tahoma" pitchFamily="-107" charset="0"/>
              </a:rPr>
              <a:t>(being careful not to duplicate brand and sales management/execution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Including all 5 stages, ensuring focus on converting mavericks to advocat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400" dirty="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9" name="Content Placeholder 13" descr="Stopwatch with solid fill">
            <a:extLst>
              <a:ext uri="{FF2B5EF4-FFF2-40B4-BE49-F238E27FC236}">
                <a16:creationId xmlns:a16="http://schemas.microsoft.com/office/drawing/2014/main" id="{EC2C9963-60B7-42AC-873F-E471663259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F3FFBD1-9793-47AD-A3EB-460135882463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424803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2154491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692128"/>
            <a:ext cx="1885612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Reflects on early JYSELECA experience &amp; positive efficacy outcomes compared with other JA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as their ‘go to’ JA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hares positive experiences with colleagu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692128"/>
            <a:ext cx="1885612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vocates JYSELECA as JAK of choic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2138121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88965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2154491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2154491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8"/>
            <a:ext cx="5008027" cy="401268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14600" y="359647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7071646" y="296741"/>
            <a:ext cx="4984985" cy="380021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7077176" y="672751"/>
            <a:ext cx="4970311" cy="599642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39622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1383759" y="659141"/>
            <a:ext cx="4992099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260732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608277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34083" y="1790315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1414429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3020426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21537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34083" y="5222076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80481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the burden of the disease including side effects is more significant that currently thought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7" y="383351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88328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lt;Insert Message related to existing treatment data&gt;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80481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83351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ECB03BA-1C1C-4ABB-8A24-B920678625D5}"/>
              </a:ext>
            </a:extLst>
          </p:cNvPr>
          <p:cNvSpPr/>
          <p:nvPr/>
        </p:nvSpPr>
        <p:spPr bwMode="auto">
          <a:xfrm>
            <a:off x="3573437" y="488328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lt;Branded messaging introduced&gt;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82048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84918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9B10A95-AD2E-4E7F-BAA9-F055017BF2F2}"/>
              </a:ext>
            </a:extLst>
          </p:cNvPr>
          <p:cNvSpPr/>
          <p:nvPr/>
        </p:nvSpPr>
        <p:spPr bwMode="auto">
          <a:xfrm>
            <a:off x="5781404" y="489895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82048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84918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3E8EA25-E16C-4D3D-950D-472F2A3D9F0B}"/>
              </a:ext>
            </a:extLst>
          </p:cNvPr>
          <p:cNvSpPr/>
          <p:nvPr/>
        </p:nvSpPr>
        <p:spPr bwMode="auto">
          <a:xfrm>
            <a:off x="7983201" y="489895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80481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83351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688F59B-11C1-45FF-8552-5E57CB64FB33}"/>
              </a:ext>
            </a:extLst>
          </p:cNvPr>
          <p:cNvSpPr/>
          <p:nvPr/>
        </p:nvSpPr>
        <p:spPr bwMode="auto">
          <a:xfrm>
            <a:off x="10197335" y="488328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5912394"/>
            <a:ext cx="1837643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5912394"/>
            <a:ext cx="188561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591239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591239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591239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5861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478946" y="648377"/>
            <a:ext cx="378549" cy="672075"/>
          </a:xfrm>
          <a:prstGeom prst="upArrow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38B801D-E43A-4CA1-A5FE-A231AC1FE024}"/>
              </a:ext>
            </a:extLst>
          </p:cNvPr>
          <p:cNvSpPr txBox="1"/>
          <p:nvPr/>
        </p:nvSpPr>
        <p:spPr>
          <a:xfrm>
            <a:off x="3292622" y="6585247"/>
            <a:ext cx="6254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e clear to markets that this is the starting point –with local segmentation preference applied, show why we’re focusing one segment, show research</a:t>
            </a: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Propos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How will time-specific events be incorporated, if not aligned to calendar? (Pre-during-post event?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ave to link to adoption because it’s important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Pre-during-post EULAR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1 big events for RA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 events for IBD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Connected the normal journeys with ’entry’ and ‘exit points’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Don’t rebuild the EULAR journeys, focus instead on connecting it to the core HCP journey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Markets will have other related activities such as regular webinar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E4D76EA3-0927-48F1-BE27-2F6112D2F8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E6E9488-B78C-47FF-89A7-E4267470192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412704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2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ill there be multiple ‘scenarios’ for each adoption phase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ote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CB1D220D-9636-4830-A596-083230A072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975B29A-C7B5-450D-869F-7B0B0EE2DACF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  <p:sp>
        <p:nvSpPr>
          <p:cNvPr id="10" name="Star: 5 Points 9">
            <a:extLst>
              <a:ext uri="{FF2B5EF4-FFF2-40B4-BE49-F238E27FC236}">
                <a16:creationId xmlns:a16="http://schemas.microsoft.com/office/drawing/2014/main" id="{B7CA15B5-77E7-41AF-A6D7-FEA420422942}"/>
              </a:ext>
            </a:extLst>
          </p:cNvPr>
          <p:cNvSpPr/>
          <p:nvPr/>
        </p:nvSpPr>
        <p:spPr bwMode="auto">
          <a:xfrm>
            <a:off x="6019061" y="225967"/>
            <a:ext cx="624548" cy="57412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722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2.1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ill these scenarios be split by function? (Rep/Digital/Event)?</a:t>
            </a:r>
          </a:p>
          <a:p>
            <a:pPr marL="0" indent="0">
              <a:buNone/>
            </a:pPr>
            <a:r>
              <a:rPr lang="en-GB" sz="1600" b="1">
                <a:solidFill>
                  <a:schemeClr val="accent1"/>
                </a:solidFill>
              </a:rPr>
              <a:t>Are the journeys going to be connected between physical and digital? Rep journeys and digital-only Journeys? (should be focused on continuing engagement in their preferred channel, as opposed to forcing a digital – physical direction)</a:t>
            </a:r>
          </a:p>
          <a:p>
            <a:pPr marL="0" indent="0">
              <a:buNone/>
            </a:pPr>
            <a:endParaRPr lang="en-GB" b="1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Y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A few scenarios per adoption stage, </a:t>
            </a:r>
            <a:r>
              <a:rPr kumimoji="0" lang="en-GB" sz="16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g</a:t>
            </a: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 1 digital only, 2 hybrid?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6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ybrid versions are priority -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200">
                <a:latin typeface="Tahoma" pitchFamily="-107" charset="0"/>
              </a:rPr>
              <a:t>Or engaged vs unengaged entry points?</a:t>
            </a: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 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4CFA41B-CF3F-4355-88A5-794F2FD54D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E32226-0695-4F8C-A71A-3C3ED98146BE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  <p:sp>
        <p:nvSpPr>
          <p:cNvPr id="10" name="Star: 5 Points 9">
            <a:extLst>
              <a:ext uri="{FF2B5EF4-FFF2-40B4-BE49-F238E27FC236}">
                <a16:creationId xmlns:a16="http://schemas.microsoft.com/office/drawing/2014/main" id="{25533BD9-24A4-4F8C-88AB-0DFE7D3AAC5C}"/>
              </a:ext>
            </a:extLst>
          </p:cNvPr>
          <p:cNvSpPr/>
          <p:nvPr/>
        </p:nvSpPr>
        <p:spPr bwMode="auto">
          <a:xfrm>
            <a:off x="6019061" y="225967"/>
            <a:ext cx="624548" cy="574122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Propos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e will connect (hyperlink) the touchpoints to real content.</a:t>
            </a:r>
          </a:p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Decision: to Vault, or SharePoint, or agency repository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ic</a:t>
            </a:r>
            <a:r>
              <a:rPr lang="en-GB" sz="1600">
                <a:latin typeface="Tahoma" pitchFamily="-107" charset="0"/>
              </a:rPr>
              <a:t>e to have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Try it – and see if it works/is valuable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Decide later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At the very least, link to the materials repository/</a:t>
            </a:r>
            <a:r>
              <a:rPr lang="en-GB" sz="1600" err="1">
                <a:latin typeface="Tahoma" pitchFamily="-107" charset="0"/>
              </a:rPr>
              <a:t>sharepoint</a:t>
            </a:r>
            <a:r>
              <a:rPr lang="en-GB" sz="1600">
                <a:latin typeface="Tahoma" pitchFamily="-107" charset="0"/>
              </a:rPr>
              <a:t>/vault.</a:t>
            </a: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E3474DC9-67CF-471F-A799-A8B50F0FFE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2C6066B-4DBA-40A9-BF8B-FFA18C445C99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378390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6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Should we highlight what data we will be capturing at each stage?</a:t>
            </a:r>
          </a:p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What data shall we use for channel selection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avigator/Behavioural Affinities (segmentation) CRM/Pulse/Market Research/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Markets also have some third party data on channel preferences, </a:t>
            </a:r>
            <a:r>
              <a:rPr lang="en-GB" sz="1600" err="1">
                <a:latin typeface="Tahoma" pitchFamily="-107" charset="0"/>
              </a:rPr>
              <a:t>eg</a:t>
            </a:r>
            <a:r>
              <a:rPr lang="en-GB" sz="1600">
                <a:latin typeface="Tahoma" pitchFamily="-107" charset="0"/>
              </a:rPr>
              <a:t>  from Medscape etc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6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For the Journeys – proposed to add suggested KPIs for that touchpoint?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6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>
                <a:latin typeface="Tahoma" pitchFamily="-107" charset="0"/>
              </a:rPr>
              <a:t>Partly </a:t>
            </a:r>
            <a:r>
              <a:rPr lang="en-GB" sz="1600" err="1">
                <a:latin typeface="Tahoma" pitchFamily="-107" charset="0"/>
              </a:rPr>
              <a:t>tbd</a:t>
            </a:r>
            <a:r>
              <a:rPr lang="en-GB" sz="1600"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15963A22-4D0E-4E29-A983-3745A16B13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A0947E3-EB6C-4DCA-B07D-459F32099661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145411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7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How granular? Are we listing ALL touchpoints, or higher level, executable examples of journey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ote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B85D161B-BD01-43DA-A57A-5318495E6C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69419BB-7B02-470A-8D4F-820FE0BA6E89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89557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8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How do we incorporate future plans for dynamic journeys into the initial journeys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ote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98FA27B7-3C5E-48A7-87ED-AF8881E02A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A705BEA-D5DD-409A-8893-8ADD7014B477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69357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 u="sng">
                <a:solidFill>
                  <a:schemeClr val="accent1"/>
                </a:solidFill>
              </a:rPr>
              <a:t>How</a:t>
            </a:r>
            <a:r>
              <a:rPr lang="en-GB" b="1">
                <a:solidFill>
                  <a:schemeClr val="accent1"/>
                </a:solidFill>
              </a:rPr>
              <a:t> visually shall we connect the touchpoint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103632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ote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B076F1ED-C3D4-477F-95B8-0CA08565B0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9682859" y="2537871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1B2B55-EE20-4026-A506-43ACF89E2A6B}"/>
              </a:ext>
            </a:extLst>
          </p:cNvPr>
          <p:cNvSpPr txBox="1"/>
          <p:nvPr/>
        </p:nvSpPr>
        <p:spPr>
          <a:xfrm>
            <a:off x="10106156" y="2587821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</p:spTree>
    <p:extLst>
      <p:ext uri="{BB962C8B-B14F-4D97-AF65-F5344CB8AC3E}">
        <p14:creationId xmlns:p14="http://schemas.microsoft.com/office/powerpoint/2010/main" val="62625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HCP Journey </a:t>
            </a:r>
            <a:r>
              <a:rPr lang="en-GB" sz="2400" b="1">
                <a:solidFill>
                  <a:schemeClr val="accent1"/>
                </a:solidFill>
              </a:rPr>
              <a:t>Workshop 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uesday 23rd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solidFill>
                  <a:prstClr val="white"/>
                </a:solidFill>
                <a:latin typeface="Tahoma"/>
              </a:rPr>
              <a:t>Core project team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54E50-E625-461C-BA24-77E98AE26F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8022" y="3303868"/>
            <a:ext cx="4907705" cy="26337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12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How we do we incorporate the 5 stage performance analysis / planning into the journey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5357096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Notes</a:t>
            </a: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E2733354-0790-4B0E-8430-C2C2808238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auto">
          <a:xfrm>
            <a:off x="4725848" y="2576372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4FF3EE5-A332-4F5A-BA19-27E671A27CA4}"/>
              </a:ext>
            </a:extLst>
          </p:cNvPr>
          <p:cNvSpPr txBox="1"/>
          <p:nvPr/>
        </p:nvSpPr>
        <p:spPr>
          <a:xfrm>
            <a:off x="5149145" y="2626322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tx2"/>
                </a:solidFill>
              </a:rPr>
              <a:t>5 mins</a:t>
            </a:r>
          </a:p>
        </p:txBody>
      </p:sp>
      <p:pic>
        <p:nvPicPr>
          <p:cNvPr id="10" name="Picture 5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E2482969-3104-4F79-A9B6-7800B52DCF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611" y="1876967"/>
            <a:ext cx="2930525" cy="244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204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FC044-BEDA-42E8-913B-B30EC113F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808579"/>
          </a:xfrm>
        </p:spPr>
        <p:txBody>
          <a:bodyPr/>
          <a:lstStyle/>
          <a:p>
            <a:r>
              <a:rPr lang="en-GB"/>
              <a:t>Decision 13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68F0D-3E61-4D8E-8595-89DA89762F4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068388"/>
            <a:ext cx="10806722" cy="588962"/>
          </a:xfrm>
        </p:spPr>
        <p:txBody>
          <a:bodyPr/>
          <a:lstStyle/>
          <a:p>
            <a:pPr marL="0" indent="0">
              <a:buNone/>
            </a:pPr>
            <a:r>
              <a:rPr lang="en-GB" b="1">
                <a:solidFill>
                  <a:schemeClr val="accent1"/>
                </a:solidFill>
              </a:rPr>
              <a:t>How we do we incorporate the ‘Winning </a:t>
            </a:r>
            <a:r>
              <a:rPr lang="en-GB" b="1" err="1">
                <a:solidFill>
                  <a:schemeClr val="accent1"/>
                </a:solidFill>
              </a:rPr>
              <a:t>Mindsets’narrative</a:t>
            </a:r>
            <a:r>
              <a:rPr lang="en-GB" b="1">
                <a:solidFill>
                  <a:schemeClr val="accent1"/>
                </a:solidFill>
              </a:rPr>
              <a:t>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9B84020-79A9-4C48-9FEC-E870B6547AF7}"/>
              </a:ext>
            </a:extLst>
          </p:cNvPr>
          <p:cNvSpPr/>
          <p:nvPr/>
        </p:nvSpPr>
        <p:spPr bwMode="auto">
          <a:xfrm>
            <a:off x="738904" y="2499771"/>
            <a:ext cx="5357096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ote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8" name="Graphic 7" descr="Fork In Road with solid fill">
            <a:extLst>
              <a:ext uri="{FF2B5EF4-FFF2-40B4-BE49-F238E27FC236}">
                <a16:creationId xmlns:a16="http://schemas.microsoft.com/office/drawing/2014/main" id="{4C501A65-AC22-4B28-8ACC-D88F00C482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56307" y="251289"/>
            <a:ext cx="624548" cy="624548"/>
          </a:xfrm>
          <a:prstGeom prst="rect">
            <a:avLst/>
          </a:prstGeom>
        </p:spPr>
      </p:pic>
      <p:pic>
        <p:nvPicPr>
          <p:cNvPr id="7" name="Content Placeholder 13" descr="Stopwatch with solid fill">
            <a:extLst>
              <a:ext uri="{FF2B5EF4-FFF2-40B4-BE49-F238E27FC236}">
                <a16:creationId xmlns:a16="http://schemas.microsoft.com/office/drawing/2014/main" id="{E2733354-0790-4B0E-8430-C2C2808238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auto">
          <a:xfrm>
            <a:off x="4725848" y="2576372"/>
            <a:ext cx="469232" cy="46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4FF3EE5-A332-4F5A-BA19-27E671A27CA4}"/>
              </a:ext>
            </a:extLst>
          </p:cNvPr>
          <p:cNvSpPr txBox="1"/>
          <p:nvPr/>
        </p:nvSpPr>
        <p:spPr>
          <a:xfrm>
            <a:off x="5149145" y="2626322"/>
            <a:ext cx="102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 mi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D0B9FA-2736-4C7A-8FCD-D1AE4FC276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4172" y="3146086"/>
            <a:ext cx="5550509" cy="2146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09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1954530"/>
            <a:ext cx="32930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xt Steps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4883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57870" y="2584094"/>
            <a:ext cx="295208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eeva will prepare some proposed template/tool options, based upon the principles and framework discussion, for review during the Friday workshop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43369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Graphic 10" descr="Dance steps with solid fill">
            <a:extLst>
              <a:ext uri="{FF2B5EF4-FFF2-40B4-BE49-F238E27FC236}">
                <a16:creationId xmlns:a16="http://schemas.microsoft.com/office/drawing/2014/main" id="{5D929EDE-CC14-44E4-88CB-A328CF9075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72931" y="1839976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5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9D0526-A0C4-2441-865A-E69D4C890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416" y="399213"/>
            <a:ext cx="4983111" cy="1046410"/>
          </a:xfrm>
        </p:spPr>
        <p:txBody>
          <a:bodyPr/>
          <a:lstStyle/>
          <a:p>
            <a:pPr algn="ctr"/>
            <a:r>
              <a:rPr lang="en-US" sz="3200">
                <a:ea typeface="ＭＳ Ｐゴシック"/>
              </a:rPr>
              <a:t>Workshop Context</a:t>
            </a:r>
            <a:endParaRPr lang="en-US" sz="3200" i="1">
              <a:ea typeface="ＭＳ Ｐゴシック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7BB78FF-0CC6-E249-BE66-8054D588D936}"/>
              </a:ext>
            </a:extLst>
          </p:cNvPr>
          <p:cNvSpPr txBox="1">
            <a:spLocks/>
          </p:cNvSpPr>
          <p:nvPr/>
        </p:nvSpPr>
        <p:spPr bwMode="auto">
          <a:xfrm>
            <a:off x="6372523" y="1773238"/>
            <a:ext cx="5291976" cy="3481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 pitchFamily="-107" charset="-128"/>
              </a:rPr>
              <a:t>Define, agree and prioritise the Journey </a:t>
            </a:r>
            <a:r>
              <a:rPr kumimoji="0" lang="en-GB" sz="2000" i="0" u="none" strike="noStrike" kern="120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 pitchFamily="-107" charset="-128"/>
              </a:rPr>
              <a:t>Principles - </a:t>
            </a:r>
            <a:r>
              <a:rPr kumimoji="0" lang="en-GB" sz="200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ＭＳ Ｐゴシック" pitchFamily="-107" charset="-128"/>
              </a:rPr>
              <a:t>30mins</a:t>
            </a:r>
          </a:p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rgbClr val="3D6960"/>
                </a:solidFill>
                <a:latin typeface="Tahoma"/>
              </a:rPr>
              <a:t>Define, agree and prioritise the </a:t>
            </a:r>
            <a:r>
              <a:rPr lang="en-GB" sz="2000">
                <a:solidFill>
                  <a:srgbClr val="3D6960"/>
                </a:solidFill>
                <a:latin typeface="Tahoma"/>
              </a:rPr>
              <a:t>Journey framework</a:t>
            </a:r>
            <a:r>
              <a:rPr lang="en-GB" sz="2000" b="0">
                <a:solidFill>
                  <a:srgbClr val="3D6960"/>
                </a:solidFill>
                <a:latin typeface="Tahoma"/>
              </a:rPr>
              <a:t> – </a:t>
            </a:r>
            <a:r>
              <a:rPr lang="en-GB" sz="2000">
                <a:solidFill>
                  <a:schemeClr val="accent1"/>
                </a:solidFill>
                <a:latin typeface="Tahoma"/>
              </a:rPr>
              <a:t>90mi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DEDF2B-2AEF-410B-B775-A0BE9A758D1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87384" y="1773238"/>
            <a:ext cx="5532094" cy="4343400"/>
          </a:xfrm>
        </p:spPr>
        <p:txBody>
          <a:bodyPr/>
          <a:lstStyle/>
          <a:p>
            <a:r>
              <a:rPr lang="en-GB" sz="2000">
                <a:ea typeface="ＭＳ Ｐゴシック"/>
              </a:rPr>
              <a:t>Before jumping into the creation of our HCP Journeys, we need to ensure we are working from the </a:t>
            </a:r>
            <a:r>
              <a:rPr lang="en-GB" sz="2000" b="1">
                <a:solidFill>
                  <a:schemeClr val="accent1"/>
                </a:solidFill>
                <a:ea typeface="ＭＳ Ｐゴシック"/>
              </a:rPr>
              <a:t>same principles, and the framework</a:t>
            </a:r>
            <a:r>
              <a:rPr lang="en-GB" sz="2000">
                <a:ea typeface="ＭＳ Ｐゴシック"/>
              </a:rPr>
              <a:t> for how they should be created.</a:t>
            </a:r>
          </a:p>
          <a:p>
            <a:r>
              <a:rPr lang="en-GB" sz="2000">
                <a:ea typeface="ＭＳ Ｐゴシック"/>
              </a:rPr>
              <a:t>From the principles &amp; framework, we can </a:t>
            </a:r>
            <a:r>
              <a:rPr lang="en-GB" sz="2000" b="1">
                <a:solidFill>
                  <a:schemeClr val="accent1"/>
                </a:solidFill>
                <a:ea typeface="ＭＳ Ｐゴシック"/>
              </a:rPr>
              <a:t>create a template</a:t>
            </a:r>
            <a:r>
              <a:rPr lang="en-GB" sz="2000">
                <a:solidFill>
                  <a:schemeClr val="accent1"/>
                </a:solidFill>
                <a:ea typeface="ＭＳ Ｐゴシック"/>
              </a:rPr>
              <a:t> </a:t>
            </a:r>
            <a:r>
              <a:rPr lang="en-GB" sz="2000">
                <a:ea typeface="ＭＳ Ｐゴシック"/>
              </a:rPr>
              <a:t>that achieves these goals.</a:t>
            </a:r>
            <a:endParaRPr lang="en-GB">
              <a:ea typeface="ＭＳ Ｐゴシック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89FA5FF-8180-48C4-A5D8-29987055A2C6}"/>
              </a:ext>
            </a:extLst>
          </p:cNvPr>
          <p:cNvSpPr txBox="1">
            <a:spLocks/>
          </p:cNvSpPr>
          <p:nvPr/>
        </p:nvSpPr>
        <p:spPr bwMode="auto">
          <a:xfrm>
            <a:off x="6206826" y="399213"/>
            <a:ext cx="4983111" cy="104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/>
              </a:rPr>
              <a:t>Workshop Objectives</a:t>
            </a:r>
            <a:endParaRPr kumimoji="0" lang="en-US" sz="3200" b="1" i="1" u="none" strike="noStrike" kern="0" cap="none" spc="0" normalizeH="0" baseline="0" noProof="0">
              <a:ln>
                <a:noFill/>
              </a:ln>
              <a:solidFill>
                <a:srgbClr val="3D6960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6779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BCEB5F-BF69-43F7-B4AA-616B55890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85" y="1167930"/>
            <a:ext cx="10810627" cy="716236"/>
          </a:xfrm>
        </p:spPr>
        <p:txBody>
          <a:bodyPr/>
          <a:lstStyle/>
          <a:p>
            <a:pPr algn="ctr"/>
            <a:r>
              <a:rPr lang="en-GB"/>
              <a:t>Let’s have an efficient session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8F5F8C-345B-47E9-805F-67AACCC3F1B9}"/>
              </a:ext>
            </a:extLst>
          </p:cNvPr>
          <p:cNvSpPr txBox="1"/>
          <p:nvPr/>
        </p:nvSpPr>
        <p:spPr>
          <a:xfrm>
            <a:off x="1171254" y="2517171"/>
            <a:ext cx="40171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>
                <a:solidFill>
                  <a:schemeClr val="accent1"/>
                </a:solidFill>
              </a:rPr>
              <a:t>Time Keep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95A5A6-105C-41CD-8711-4BFD8E1D3F42}"/>
              </a:ext>
            </a:extLst>
          </p:cNvPr>
          <p:cNvSpPr txBox="1"/>
          <p:nvPr/>
        </p:nvSpPr>
        <p:spPr>
          <a:xfrm>
            <a:off x="6095999" y="2564087"/>
            <a:ext cx="5346889" cy="6080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>
                <a:solidFill>
                  <a:schemeClr val="accent1"/>
                </a:solidFill>
              </a:rPr>
              <a:t>‘Rabbit hole’ Monit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CB597C-053D-4343-A1A9-A704EE840FDF}"/>
              </a:ext>
            </a:extLst>
          </p:cNvPr>
          <p:cNvSpPr txBox="1"/>
          <p:nvPr/>
        </p:nvSpPr>
        <p:spPr>
          <a:xfrm>
            <a:off x="970394" y="3102166"/>
            <a:ext cx="4418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chemeClr val="bg2"/>
                </a:solidFill>
              </a:rPr>
              <a:t>Keeps us on-time and reminds the group when we need to move forwar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8EBAB2-9A85-4879-A799-818F9743AFA7}"/>
              </a:ext>
            </a:extLst>
          </p:cNvPr>
          <p:cNvSpPr txBox="1"/>
          <p:nvPr/>
        </p:nvSpPr>
        <p:spPr>
          <a:xfrm>
            <a:off x="5723751" y="3113861"/>
            <a:ext cx="5881578" cy="992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chemeClr val="bg2"/>
                </a:solidFill>
              </a:rPr>
              <a:t>If we go ‘off-topic’ from the meeting objectives, the monitor will raise speak up, note the topic for a follow-up, and bring us back to topic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1CE02D-B07F-454C-871B-6A8FD24B0E11}"/>
              </a:ext>
            </a:extLst>
          </p:cNvPr>
          <p:cNvSpPr txBox="1"/>
          <p:nvPr/>
        </p:nvSpPr>
        <p:spPr>
          <a:xfrm>
            <a:off x="1726058" y="4797493"/>
            <a:ext cx="290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i="1">
                <a:solidFill>
                  <a:schemeClr val="tx2"/>
                </a:solidFill>
              </a:rPr>
              <a:t>Alex Richwoo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116D70-34BE-401F-B257-E8F4C6BB37F8}"/>
              </a:ext>
            </a:extLst>
          </p:cNvPr>
          <p:cNvSpPr txBox="1"/>
          <p:nvPr/>
        </p:nvSpPr>
        <p:spPr>
          <a:xfrm>
            <a:off x="7058345" y="4797493"/>
            <a:ext cx="29075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i="1">
                <a:solidFill>
                  <a:schemeClr val="tx2"/>
                </a:solidFill>
              </a:rPr>
              <a:t>Louisa</a:t>
            </a:r>
          </a:p>
        </p:txBody>
      </p:sp>
    </p:spTree>
    <p:extLst>
      <p:ext uri="{BB962C8B-B14F-4D97-AF65-F5344CB8AC3E}">
        <p14:creationId xmlns:p14="http://schemas.microsoft.com/office/powerpoint/2010/main" val="92537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9D0526-A0C4-2441-865A-E69D4C890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416" y="399213"/>
            <a:ext cx="4983111" cy="1046410"/>
          </a:xfrm>
        </p:spPr>
        <p:txBody>
          <a:bodyPr/>
          <a:lstStyle/>
          <a:p>
            <a:pPr algn="ctr"/>
            <a:r>
              <a:rPr lang="en-US" sz="3200">
                <a:ea typeface="ＭＳ Ｐゴシック"/>
              </a:rPr>
              <a:t>Journey Principles</a:t>
            </a:r>
            <a:endParaRPr lang="en-US" sz="3200" i="1">
              <a:ea typeface="ＭＳ Ｐゴシック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7BB78FF-0CC6-E249-BE66-8054D588D936}"/>
              </a:ext>
            </a:extLst>
          </p:cNvPr>
          <p:cNvSpPr txBox="1">
            <a:spLocks/>
          </p:cNvSpPr>
          <p:nvPr/>
        </p:nvSpPr>
        <p:spPr bwMode="auto">
          <a:xfrm>
            <a:off x="6372523" y="1773238"/>
            <a:ext cx="5291976" cy="4029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chemeClr val="tx2"/>
                </a:solidFill>
                <a:latin typeface="+mn-lt"/>
              </a:rPr>
              <a:t>Detailing the different factors that make up the journey</a:t>
            </a:r>
          </a:p>
          <a:p>
            <a:pPr marL="285750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endParaRPr lang="en-GB" sz="2000" i="1">
              <a:solidFill>
                <a:schemeClr val="tx2"/>
              </a:solidFill>
            </a:endParaRPr>
          </a:p>
          <a:p>
            <a:pPr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chemeClr val="tx2"/>
                </a:solidFill>
              </a:rPr>
              <a:t>For example:</a:t>
            </a:r>
          </a:p>
          <a:p>
            <a:pPr marL="285750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chemeClr val="tx2"/>
                </a:solidFill>
              </a:rPr>
              <a:t>The journeys won’t be segmented</a:t>
            </a:r>
          </a:p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chemeClr val="tx2"/>
                </a:solidFill>
                <a:latin typeface="Tahoma"/>
              </a:rPr>
              <a:t>The journeys steps will link directly to content in SharePoint</a:t>
            </a:r>
          </a:p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chemeClr val="tx2"/>
                </a:solidFill>
                <a:latin typeface="Tahoma"/>
              </a:rPr>
              <a:t>The journeys will be linked to an adoption ladder</a:t>
            </a:r>
          </a:p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endParaRPr lang="en-GB" sz="2000" b="0">
              <a:solidFill>
                <a:schemeClr val="tx2"/>
              </a:solidFill>
              <a:latin typeface="Tahoma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DEDF2B-2AEF-410B-B775-A0BE9A758D1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87384" y="1773238"/>
            <a:ext cx="5532094" cy="4343400"/>
          </a:xfrm>
        </p:spPr>
        <p:txBody>
          <a:bodyPr/>
          <a:lstStyle/>
          <a:p>
            <a:pPr marL="0" indent="0">
              <a:buNone/>
            </a:pPr>
            <a:r>
              <a:rPr lang="en-GB" sz="2000"/>
              <a:t>Guiding statements to ensure the journeys are fit for purpose:</a:t>
            </a:r>
          </a:p>
          <a:p>
            <a:endParaRPr lang="en-GB" sz="2000"/>
          </a:p>
          <a:p>
            <a:pPr marL="0" indent="0">
              <a:buNone/>
            </a:pPr>
            <a:r>
              <a:rPr lang="en-GB" sz="2000"/>
              <a:t>For example:</a:t>
            </a:r>
          </a:p>
          <a:p>
            <a:r>
              <a:rPr lang="en-GB" sz="2000"/>
              <a:t>Simple</a:t>
            </a:r>
          </a:p>
          <a:p>
            <a:r>
              <a:rPr lang="en-GB" sz="2000"/>
              <a:t>Local</a:t>
            </a:r>
          </a:p>
          <a:p>
            <a:r>
              <a:rPr lang="en-GB" sz="2000"/>
              <a:t>Using existing </a:t>
            </a:r>
            <a:r>
              <a:rPr lang="en-GB" sz="2000" i="1"/>
              <a:t>(and planned)</a:t>
            </a:r>
            <a:r>
              <a:rPr lang="en-GB" sz="2000"/>
              <a:t> content/assets</a:t>
            </a:r>
          </a:p>
          <a:p>
            <a:r>
              <a:rPr lang="en-GB" sz="2000"/>
              <a:t>Linked to key events</a:t>
            </a:r>
          </a:p>
          <a:p>
            <a:endParaRPr lang="en-GB" sz="200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89FA5FF-8180-48C4-A5D8-29987055A2C6}"/>
              </a:ext>
            </a:extLst>
          </p:cNvPr>
          <p:cNvSpPr txBox="1">
            <a:spLocks/>
          </p:cNvSpPr>
          <p:nvPr/>
        </p:nvSpPr>
        <p:spPr bwMode="auto">
          <a:xfrm>
            <a:off x="6548660" y="390667"/>
            <a:ext cx="4983111" cy="104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/>
              </a:rPr>
              <a:t>Journey Framework</a:t>
            </a:r>
            <a:endParaRPr kumimoji="0" lang="en-US" sz="3200" b="1" i="1" u="none" strike="noStrike" kern="0" cap="none" spc="0" normalizeH="0" baseline="0" noProof="0">
              <a:ln>
                <a:noFill/>
              </a:ln>
              <a:solidFill>
                <a:srgbClr val="3D6960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16A85F-452A-4BDF-8E3A-9478E7538FA4}"/>
              </a:ext>
            </a:extLst>
          </p:cNvPr>
          <p:cNvSpPr txBox="1"/>
          <p:nvPr/>
        </p:nvSpPr>
        <p:spPr>
          <a:xfrm>
            <a:off x="830344" y="922418"/>
            <a:ext cx="41675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800">
                <a:solidFill>
                  <a:schemeClr val="bg1"/>
                </a:solidFill>
              </a:rPr>
              <a:t>What should the journeys </a:t>
            </a:r>
            <a:r>
              <a:rPr lang="en-GB" sz="1800" b="1">
                <a:solidFill>
                  <a:schemeClr val="accent1"/>
                </a:solidFill>
              </a:rPr>
              <a:t>be</a:t>
            </a:r>
            <a:r>
              <a:rPr lang="en-GB" sz="180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9A4672-687C-4B87-AD6C-B3E979ED9A8A}"/>
              </a:ext>
            </a:extLst>
          </p:cNvPr>
          <p:cNvSpPr txBox="1"/>
          <p:nvPr/>
        </p:nvSpPr>
        <p:spPr>
          <a:xfrm>
            <a:off x="6964990" y="913872"/>
            <a:ext cx="41675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800" b="1">
                <a:solidFill>
                  <a:schemeClr val="accent1"/>
                </a:solidFill>
              </a:rPr>
              <a:t>How </a:t>
            </a:r>
            <a:r>
              <a:rPr lang="en-GB" sz="1800"/>
              <a:t>should the journeys be created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32B843-70C8-4AC0-84DD-080B4E2D61F9}"/>
              </a:ext>
            </a:extLst>
          </p:cNvPr>
          <p:cNvSpPr txBox="1"/>
          <p:nvPr/>
        </p:nvSpPr>
        <p:spPr>
          <a:xfrm>
            <a:off x="3405091" y="5993476"/>
            <a:ext cx="5112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highlight>
                  <a:srgbClr val="FFFF00"/>
                </a:highlight>
              </a:rPr>
              <a:t>Differentiate between message/content/asset</a:t>
            </a:r>
          </a:p>
          <a:p>
            <a:pPr algn="ctr"/>
            <a:r>
              <a:rPr lang="en-GB">
                <a:highlight>
                  <a:srgbClr val="FFFF00"/>
                </a:highlight>
              </a:rPr>
              <a:t>Introduce a dictionary for what these are</a:t>
            </a:r>
          </a:p>
        </p:txBody>
      </p:sp>
    </p:spTree>
    <p:extLst>
      <p:ext uri="{BB962C8B-B14F-4D97-AF65-F5344CB8AC3E}">
        <p14:creationId xmlns:p14="http://schemas.microsoft.com/office/powerpoint/2010/main" val="171452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Princip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Content Placeholder 13" descr="Stopwatch with solid fill">
            <a:extLst>
              <a:ext uri="{FF2B5EF4-FFF2-40B4-BE49-F238E27FC236}">
                <a16:creationId xmlns:a16="http://schemas.microsoft.com/office/drawing/2014/main" id="{2E1C4D8D-F710-4A92-B035-CA9423A3604A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3216" y="4322570"/>
            <a:ext cx="469232" cy="469232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List out your core principles for building Customer Journey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8ED9E3C-B1F2-4EAE-9D90-1FB08BB3786F}"/>
              </a:ext>
            </a:extLst>
          </p:cNvPr>
          <p:cNvSpPr txBox="1"/>
          <p:nvPr/>
        </p:nvSpPr>
        <p:spPr>
          <a:xfrm>
            <a:off x="1001027" y="4370695"/>
            <a:ext cx="1963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>
                <a:solidFill>
                  <a:schemeClr val="bg1"/>
                </a:solidFill>
              </a:rPr>
              <a:t>10 mins</a:t>
            </a:r>
          </a:p>
        </p:txBody>
      </p:sp>
    </p:spTree>
    <p:extLst>
      <p:ext uri="{BB962C8B-B14F-4D97-AF65-F5344CB8AC3E}">
        <p14:creationId xmlns:p14="http://schemas.microsoft.com/office/powerpoint/2010/main" val="72340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33E7C6BA-3F81-4E7F-BCF3-24E860AB7E4C}"/>
              </a:ext>
            </a:extLst>
          </p:cNvPr>
          <p:cNvSpPr/>
          <p:nvPr/>
        </p:nvSpPr>
        <p:spPr>
          <a:xfrm>
            <a:off x="6178356" y="473788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82696E-A289-4B78-BFBA-79E60C69C764}"/>
              </a:ext>
            </a:extLst>
          </p:cNvPr>
          <p:cNvSpPr/>
          <p:nvPr/>
        </p:nvSpPr>
        <p:spPr>
          <a:xfrm>
            <a:off x="0" y="0"/>
            <a:ext cx="12192000" cy="365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 Exercis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pic>
        <p:nvPicPr>
          <p:cNvPr id="13" name="Graphic 12" descr="Good Idea with solid fill">
            <a:extLst>
              <a:ext uri="{FF2B5EF4-FFF2-40B4-BE49-F238E27FC236}">
                <a16:creationId xmlns:a16="http://schemas.microsoft.com/office/drawing/2014/main" id="{BB278CA6-541C-43CF-BA23-19FA3B094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778" y="36574"/>
            <a:ext cx="294522" cy="294522"/>
          </a:xfrm>
          <a:prstGeom prst="rect">
            <a:avLst/>
          </a:prstGeom>
        </p:spPr>
      </p:pic>
      <p:pic>
        <p:nvPicPr>
          <p:cNvPr id="14" name="Graphic 13" descr="Stopwatch with solid fill">
            <a:extLst>
              <a:ext uri="{FF2B5EF4-FFF2-40B4-BE49-F238E27FC236}">
                <a16:creationId xmlns:a16="http://schemas.microsoft.com/office/drawing/2014/main" id="{E8B1EF12-25BD-4D0B-8CA8-5248C2FD5D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849083" y="27677"/>
            <a:ext cx="291356" cy="29135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011388F-F8DF-4BDC-9A5D-42D0E3AC7BE5}"/>
              </a:ext>
            </a:extLst>
          </p:cNvPr>
          <p:cNvSpPr txBox="1"/>
          <p:nvPr/>
        </p:nvSpPr>
        <p:spPr>
          <a:xfrm>
            <a:off x="11249025" y="38100"/>
            <a:ext cx="676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rgbClr val="FFFFFF"/>
                </a:solidFill>
                <a:latin typeface="Anodina"/>
              </a:rPr>
              <a:t>2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0mins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5A69C5A-D919-44AE-B52E-F714247E2B96}"/>
              </a:ext>
            </a:extLst>
          </p:cNvPr>
          <p:cNvSpPr/>
          <p:nvPr/>
        </p:nvSpPr>
        <p:spPr>
          <a:xfrm>
            <a:off x="155507" y="464995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A9E911-949B-4A5B-8B79-9EC3E2E40DCB}"/>
              </a:ext>
            </a:extLst>
          </p:cNvPr>
          <p:cNvSpPr/>
          <p:nvPr/>
        </p:nvSpPr>
        <p:spPr>
          <a:xfrm>
            <a:off x="155507" y="464996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C7E5659-C374-4E33-B8D3-60F5D80D15C0}"/>
              </a:ext>
            </a:extLst>
          </p:cNvPr>
          <p:cNvSpPr/>
          <p:nvPr/>
        </p:nvSpPr>
        <p:spPr>
          <a:xfrm>
            <a:off x="184506" y="740313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should the journeys be? – Simple | Local | etc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72FEDF-67F3-432B-B673-6E705005A83E}"/>
              </a:ext>
            </a:extLst>
          </p:cNvPr>
          <p:cNvSpPr/>
          <p:nvPr/>
        </p:nvSpPr>
        <p:spPr>
          <a:xfrm>
            <a:off x="6380119" y="3598218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owered by Insight &amp; data (try to combine where possible to see 360 view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F267BA7-089E-4F51-A453-99A4B377377C}"/>
              </a:ext>
            </a:extLst>
          </p:cNvPr>
          <p:cNvSpPr/>
          <p:nvPr/>
        </p:nvSpPr>
        <p:spPr>
          <a:xfrm>
            <a:off x="6380118" y="5972350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fact, not feeling (where possible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3206D65-5C77-40B5-9989-9AC190474943}"/>
              </a:ext>
            </a:extLst>
          </p:cNvPr>
          <p:cNvSpPr/>
          <p:nvPr/>
        </p:nvSpPr>
        <p:spPr>
          <a:xfrm>
            <a:off x="422925" y="5653129"/>
            <a:ext cx="5338523" cy="2534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A1FF11B-94C2-4809-89C3-3E1F94126D22}"/>
              </a:ext>
            </a:extLst>
          </p:cNvPr>
          <p:cNvSpPr/>
          <p:nvPr/>
        </p:nvSpPr>
        <p:spPr>
          <a:xfrm>
            <a:off x="6178356" y="473789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C3EC2E9-0E5F-48CF-856F-F9967F4B5E2E}"/>
              </a:ext>
            </a:extLst>
          </p:cNvPr>
          <p:cNvSpPr/>
          <p:nvPr/>
        </p:nvSpPr>
        <p:spPr>
          <a:xfrm>
            <a:off x="6207355" y="749106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DBC1ECB-303D-426A-B15A-7B828D207FB6}"/>
              </a:ext>
            </a:extLst>
          </p:cNvPr>
          <p:cNvSpPr/>
          <p:nvPr/>
        </p:nvSpPr>
        <p:spPr>
          <a:xfrm>
            <a:off x="6371728" y="4285788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Various access points (into journey)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B45380-76B7-4955-A63B-5B58F6D7C5D6}"/>
              </a:ext>
            </a:extLst>
          </p:cNvPr>
          <p:cNvSpPr/>
          <p:nvPr/>
        </p:nvSpPr>
        <p:spPr>
          <a:xfrm>
            <a:off x="422925" y="3601417"/>
            <a:ext cx="5338523" cy="37108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, Usable, end-to-end UJ (that even shows potential connections between journey to journey), continuous communic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CBA2871-5F9D-4157-8687-D3591C7D9323}"/>
              </a:ext>
            </a:extLst>
          </p:cNvPr>
          <p:cNvSpPr/>
          <p:nvPr/>
        </p:nvSpPr>
        <p:spPr>
          <a:xfrm>
            <a:off x="422925" y="4305691"/>
            <a:ext cx="5338523" cy="2534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Cross- functional (input. Output is </a:t>
            </a:r>
            <a:r>
              <a:rPr lang="en-GB" sz="1000" err="1">
                <a:solidFill>
                  <a:schemeClr val="tx1"/>
                </a:solidFill>
              </a:rPr>
              <a:t>moreso</a:t>
            </a:r>
            <a:r>
              <a:rPr lang="en-GB" sz="1000">
                <a:solidFill>
                  <a:schemeClr val="tx1"/>
                </a:solidFill>
              </a:rPr>
              <a:t> FF + Marketeer initially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3219B5A-28D8-4255-A7AC-D6A1425A57AB}"/>
              </a:ext>
            </a:extLst>
          </p:cNvPr>
          <p:cNvSpPr/>
          <p:nvPr/>
        </p:nvSpPr>
        <p:spPr>
          <a:xfrm>
            <a:off x="6380119" y="2282626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B6BAC7D-9002-4156-B6E8-8DF6E4A3130E}"/>
              </a:ext>
            </a:extLst>
          </p:cNvPr>
          <p:cNvSpPr/>
          <p:nvPr/>
        </p:nvSpPr>
        <p:spPr>
          <a:xfrm>
            <a:off x="422925" y="2817582"/>
            <a:ext cx="5338523" cy="25345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oca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3AC3D4F-CCDC-4D4C-9D79-3A46ACC6B999}"/>
              </a:ext>
            </a:extLst>
          </p:cNvPr>
          <p:cNvSpPr/>
          <p:nvPr/>
        </p:nvSpPr>
        <p:spPr>
          <a:xfrm>
            <a:off x="6380119" y="4619424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inked to key event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8C719EB-B078-4351-82B5-7909D1955CDE}"/>
              </a:ext>
            </a:extLst>
          </p:cNvPr>
          <p:cNvSpPr/>
          <p:nvPr/>
        </p:nvSpPr>
        <p:spPr>
          <a:xfrm>
            <a:off x="6380119" y="1597386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Reflect brand plan and prioritization of activa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9AF6163-6D93-445D-A28E-50408C3A6546}"/>
              </a:ext>
            </a:extLst>
          </p:cNvPr>
          <p:cNvSpPr/>
          <p:nvPr/>
        </p:nvSpPr>
        <p:spPr>
          <a:xfrm>
            <a:off x="6380119" y="1940006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7D8B7A6-F3DB-4EC4-BCB1-69829E1F12A8}"/>
              </a:ext>
            </a:extLst>
          </p:cNvPr>
          <p:cNvSpPr/>
          <p:nvPr/>
        </p:nvSpPr>
        <p:spPr>
          <a:xfrm>
            <a:off x="6411228" y="2697530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ctionable today = channel maturity, content is there, </a:t>
            </a:r>
            <a:r>
              <a:rPr lang="en-GB" sz="1000">
                <a:solidFill>
                  <a:schemeClr val="tx1"/>
                </a:solidFill>
                <a:highlight>
                  <a:srgbClr val="FFFF00"/>
                </a:highlight>
              </a:rPr>
              <a:t>(relevant consent exists- add an icon where the consent is actually needed</a:t>
            </a:r>
            <a:r>
              <a:rPr lang="en-GB" sz="100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309D6E1-C0F3-4B7C-8FFD-EDC187648AF5}"/>
              </a:ext>
            </a:extLst>
          </p:cNvPr>
          <p:cNvSpPr/>
          <p:nvPr/>
        </p:nvSpPr>
        <p:spPr>
          <a:xfrm>
            <a:off x="6380119" y="1254766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 / Pragmatic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746EEE7-E0EE-4D76-BFA4-4CD605CAA192}"/>
              </a:ext>
            </a:extLst>
          </p:cNvPr>
          <p:cNvCxnSpPr/>
          <p:nvPr/>
        </p:nvCxnSpPr>
        <p:spPr bwMode="auto">
          <a:xfrm flipV="1">
            <a:off x="11925299" y="1095375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33921415-AAF1-4D2B-9B5F-6C9F35121EA5}"/>
              </a:ext>
            </a:extLst>
          </p:cNvPr>
          <p:cNvSpPr/>
          <p:nvPr/>
        </p:nvSpPr>
        <p:spPr>
          <a:xfrm>
            <a:off x="6380119" y="3940838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40EF87-8EB5-41F2-A1F0-4F351FD2B074}"/>
              </a:ext>
            </a:extLst>
          </p:cNvPr>
          <p:cNvSpPr/>
          <p:nvPr/>
        </p:nvSpPr>
        <p:spPr>
          <a:xfrm>
            <a:off x="6394448" y="5674814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878AA5D-12B9-4060-AE35-1E4449F246E0}"/>
              </a:ext>
            </a:extLst>
          </p:cNvPr>
          <p:cNvSpPr/>
          <p:nvPr/>
        </p:nvSpPr>
        <p:spPr>
          <a:xfrm>
            <a:off x="422925" y="5974602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Don’t reinvent material that has already been validated (standardise the templates, use existing materials to help build it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C91F0C6-EF82-4128-898B-79196DC8331A}"/>
              </a:ext>
            </a:extLst>
          </p:cNvPr>
          <p:cNvSpPr/>
          <p:nvPr/>
        </p:nvSpPr>
        <p:spPr>
          <a:xfrm>
            <a:off x="6402838" y="4949535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66651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33E7C6BA-3F81-4E7F-BCF3-24E860AB7E4C}"/>
              </a:ext>
            </a:extLst>
          </p:cNvPr>
          <p:cNvSpPr/>
          <p:nvPr/>
        </p:nvSpPr>
        <p:spPr>
          <a:xfrm>
            <a:off x="6178356" y="482666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82696E-A289-4B78-BFBA-79E60C69C764}"/>
              </a:ext>
            </a:extLst>
          </p:cNvPr>
          <p:cNvSpPr/>
          <p:nvPr/>
        </p:nvSpPr>
        <p:spPr>
          <a:xfrm>
            <a:off x="0" y="0"/>
            <a:ext cx="12192000" cy="365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 Exercis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pic>
        <p:nvPicPr>
          <p:cNvPr id="13" name="Graphic 12" descr="Good Idea with solid fill">
            <a:extLst>
              <a:ext uri="{FF2B5EF4-FFF2-40B4-BE49-F238E27FC236}">
                <a16:creationId xmlns:a16="http://schemas.microsoft.com/office/drawing/2014/main" id="{BB278CA6-541C-43CF-BA23-19FA3B094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778" y="36574"/>
            <a:ext cx="294522" cy="294522"/>
          </a:xfrm>
          <a:prstGeom prst="rect">
            <a:avLst/>
          </a:prstGeom>
        </p:spPr>
      </p:pic>
      <p:pic>
        <p:nvPicPr>
          <p:cNvPr id="14" name="Graphic 13" descr="Stopwatch with solid fill">
            <a:extLst>
              <a:ext uri="{FF2B5EF4-FFF2-40B4-BE49-F238E27FC236}">
                <a16:creationId xmlns:a16="http://schemas.microsoft.com/office/drawing/2014/main" id="{E8B1EF12-25BD-4D0B-8CA8-5248C2FD5D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849083" y="27677"/>
            <a:ext cx="291356" cy="29135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011388F-F8DF-4BDC-9A5D-42D0E3AC7BE5}"/>
              </a:ext>
            </a:extLst>
          </p:cNvPr>
          <p:cNvSpPr txBox="1"/>
          <p:nvPr/>
        </p:nvSpPr>
        <p:spPr>
          <a:xfrm>
            <a:off x="11249025" y="38100"/>
            <a:ext cx="6762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rgbClr val="FFFFFF"/>
                </a:solidFill>
                <a:latin typeface="Anodina"/>
              </a:rPr>
              <a:t>2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0mins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5A69C5A-D919-44AE-B52E-F714247E2B96}"/>
              </a:ext>
            </a:extLst>
          </p:cNvPr>
          <p:cNvSpPr/>
          <p:nvPr/>
        </p:nvSpPr>
        <p:spPr>
          <a:xfrm>
            <a:off x="155507" y="464995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A9E911-949B-4A5B-8B79-9EC3E2E40DCB}"/>
              </a:ext>
            </a:extLst>
          </p:cNvPr>
          <p:cNvSpPr/>
          <p:nvPr/>
        </p:nvSpPr>
        <p:spPr>
          <a:xfrm>
            <a:off x="155507" y="464996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C7E5659-C374-4E33-B8D3-60F5D80D15C0}"/>
              </a:ext>
            </a:extLst>
          </p:cNvPr>
          <p:cNvSpPr/>
          <p:nvPr/>
        </p:nvSpPr>
        <p:spPr>
          <a:xfrm>
            <a:off x="184506" y="740313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should the journeys be? – Simple | Local | et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454A5D6-9790-4CCB-9D9A-087099D91EF6}"/>
              </a:ext>
            </a:extLst>
          </p:cNvPr>
          <p:cNvSpPr/>
          <p:nvPr/>
        </p:nvSpPr>
        <p:spPr>
          <a:xfrm>
            <a:off x="375300" y="2094570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Using existing content and channels – developed by international, and developed locall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FD0230D-DE25-4528-9C89-13778665B03D}"/>
              </a:ext>
            </a:extLst>
          </p:cNvPr>
          <p:cNvSpPr/>
          <p:nvPr/>
        </p:nvSpPr>
        <p:spPr>
          <a:xfrm>
            <a:off x="375300" y="2507546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ocalised to the marke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7F66A7A-EC91-45F1-9551-A199502ED9BB}"/>
              </a:ext>
            </a:extLst>
          </p:cNvPr>
          <p:cNvSpPr/>
          <p:nvPr/>
        </p:nvSpPr>
        <p:spPr>
          <a:xfrm>
            <a:off x="375300" y="2920522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E24AA5D-F77F-44F9-A7BA-97015E05E368}"/>
              </a:ext>
            </a:extLst>
          </p:cNvPr>
          <p:cNvSpPr/>
          <p:nvPr/>
        </p:nvSpPr>
        <p:spPr>
          <a:xfrm>
            <a:off x="375300" y="3333498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ing existing data – </a:t>
            </a:r>
            <a:r>
              <a:rPr lang="en-GB" sz="1000" err="1">
                <a:solidFill>
                  <a:schemeClr val="tx1"/>
                </a:solidFill>
              </a:rPr>
              <a:t>Eg</a:t>
            </a:r>
            <a:r>
              <a:rPr lang="en-GB" sz="1000">
                <a:solidFill>
                  <a:schemeClr val="tx1"/>
                </a:solidFill>
              </a:rPr>
              <a:t> Navigator and Puls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9089471-EDBA-49EE-B42B-3419D91F55B0}"/>
              </a:ext>
            </a:extLst>
          </p:cNvPr>
          <p:cNvSpPr/>
          <p:nvPr/>
        </p:nvSpPr>
        <p:spPr>
          <a:xfrm>
            <a:off x="375300" y="3746474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Executes the latest RA campaig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CDAB9B0-6F88-4D4D-A724-F3E0023F957C}"/>
              </a:ext>
            </a:extLst>
          </p:cNvPr>
          <p:cNvSpPr/>
          <p:nvPr/>
        </p:nvSpPr>
        <p:spPr>
          <a:xfrm>
            <a:off x="375300" y="4159450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5001FE4-3B6C-4329-BAC7-BD6933B6038B}"/>
              </a:ext>
            </a:extLst>
          </p:cNvPr>
          <p:cNvSpPr/>
          <p:nvPr/>
        </p:nvSpPr>
        <p:spPr>
          <a:xfrm>
            <a:off x="375300" y="4985402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Don’t reinvent material that has already been validated (standardise the templates, use existing materials to help build it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C72FEDF-67F3-432B-B673-6E705005A83E}"/>
              </a:ext>
            </a:extLst>
          </p:cNvPr>
          <p:cNvSpPr/>
          <p:nvPr/>
        </p:nvSpPr>
        <p:spPr>
          <a:xfrm>
            <a:off x="375300" y="5398378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F267BA7-089E-4F51-A453-99A4B377377C}"/>
              </a:ext>
            </a:extLst>
          </p:cNvPr>
          <p:cNvSpPr/>
          <p:nvPr/>
        </p:nvSpPr>
        <p:spPr>
          <a:xfrm>
            <a:off x="375300" y="5811354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3206D65-5C77-40B5-9989-9AC190474943}"/>
              </a:ext>
            </a:extLst>
          </p:cNvPr>
          <p:cNvSpPr/>
          <p:nvPr/>
        </p:nvSpPr>
        <p:spPr>
          <a:xfrm>
            <a:off x="375300" y="6224328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AFEF9E2-D4BE-4FEB-918C-283D94B326E6}"/>
              </a:ext>
            </a:extLst>
          </p:cNvPr>
          <p:cNvSpPr/>
          <p:nvPr/>
        </p:nvSpPr>
        <p:spPr>
          <a:xfrm>
            <a:off x="375299" y="1213351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 (not overcomplicated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6CA2DAD-C7A7-4023-90BD-40EECD9B025D}"/>
              </a:ext>
            </a:extLst>
          </p:cNvPr>
          <p:cNvSpPr/>
          <p:nvPr/>
        </p:nvSpPr>
        <p:spPr>
          <a:xfrm>
            <a:off x="375300" y="1664140"/>
            <a:ext cx="5338523" cy="3373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real even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A1FF11B-94C2-4809-89C3-3E1F94126D22}"/>
              </a:ext>
            </a:extLst>
          </p:cNvPr>
          <p:cNvSpPr/>
          <p:nvPr/>
        </p:nvSpPr>
        <p:spPr>
          <a:xfrm>
            <a:off x="6178356" y="473789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C3EC2E9-0E5F-48CF-856F-F9967F4B5E2E}"/>
              </a:ext>
            </a:extLst>
          </p:cNvPr>
          <p:cNvSpPr/>
          <p:nvPr/>
        </p:nvSpPr>
        <p:spPr>
          <a:xfrm>
            <a:off x="6207355" y="749106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1E2E5F3-F4F5-494B-8393-E74B882C9BA4}"/>
              </a:ext>
            </a:extLst>
          </p:cNvPr>
          <p:cNvCxnSpPr/>
          <p:nvPr/>
        </p:nvCxnSpPr>
        <p:spPr bwMode="auto">
          <a:xfrm flipV="1">
            <a:off x="11925299" y="1095375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78229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B7722-3997-4B64-998B-0EE08678A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 descr="A picture containing sandglass, blue, close&#10;&#10;Description automatically generated">
            <a:extLst>
              <a:ext uri="{FF2B5EF4-FFF2-40B4-BE49-F238E27FC236}">
                <a16:creationId xmlns:a16="http://schemas.microsoft.com/office/drawing/2014/main" id="{D084E296-DEA1-4C14-996B-4C15046A79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8" b="613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279CA1-B656-47A9-9EAD-AD936B9AACFC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033E8-EE77-4763-99D5-806377702814}"/>
              </a:ext>
            </a:extLst>
          </p:cNvPr>
          <p:cNvSpPr txBox="1"/>
          <p:nvPr/>
        </p:nvSpPr>
        <p:spPr>
          <a:xfrm>
            <a:off x="401722" y="2011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Customer Journey </a:t>
            </a:r>
            <a:r>
              <a:rPr lang="en-GB" sz="2400" b="1">
                <a:solidFill>
                  <a:schemeClr val="accent1"/>
                </a:solidFill>
              </a:rPr>
              <a:t>Framewor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9506B6-5D94-4152-A59B-FE6AECB30CAB}"/>
              </a:ext>
            </a:extLst>
          </p:cNvPr>
          <p:cNvCxnSpPr>
            <a:cxnSpLocks/>
          </p:cNvCxnSpPr>
          <p:nvPr/>
        </p:nvCxnSpPr>
        <p:spPr bwMode="auto">
          <a:xfrm>
            <a:off x="475488" y="29836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F557E73-DA78-4598-AFD3-CFEBB979F877}"/>
              </a:ext>
            </a:extLst>
          </p:cNvPr>
          <p:cNvSpPr txBox="1"/>
          <p:nvPr/>
        </p:nvSpPr>
        <p:spPr>
          <a:xfrm>
            <a:off x="448056" y="3111627"/>
            <a:ext cx="2788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What are the framework elements that we should include in the journeys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2D8F17-A1AA-48FD-ADA1-E2B76216932E}"/>
              </a:ext>
            </a:extLst>
          </p:cNvPr>
          <p:cNvCxnSpPr>
            <a:cxnSpLocks/>
          </p:cNvCxnSpPr>
          <p:nvPr/>
        </p:nvCxnSpPr>
        <p:spPr bwMode="auto">
          <a:xfrm>
            <a:off x="475488" y="42241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2048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73657E8-6D0C-44FB-A000-A55CE1AD5CAE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AD7AE73-C57A-4369-9CEA-6481D0B9F6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8994B3-1F97-4697-BCBD-49D796C27B0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11</Words>
  <Application>Microsoft Office PowerPoint</Application>
  <PresentationFormat>Widescreen</PresentationFormat>
  <Paragraphs>195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nodina</vt:lpstr>
      <vt:lpstr>Arial</vt:lpstr>
      <vt:lpstr>Calibri</vt:lpstr>
      <vt:lpstr>Calibri Light</vt:lpstr>
      <vt:lpstr>Helvetica Neue Light</vt:lpstr>
      <vt:lpstr>Tahoma</vt:lpstr>
      <vt:lpstr>Times</vt:lpstr>
      <vt:lpstr>Wingdings</vt:lpstr>
      <vt:lpstr>Galapagos_template_Basic</vt:lpstr>
      <vt:lpstr>9_Galapagos_template_Basic</vt:lpstr>
      <vt:lpstr>1_Office Theme</vt:lpstr>
      <vt:lpstr>think-cell Slide</vt:lpstr>
      <vt:lpstr>PowerPoint Presentation</vt:lpstr>
      <vt:lpstr>PowerPoint Presentation</vt:lpstr>
      <vt:lpstr>Workshop Context</vt:lpstr>
      <vt:lpstr>Let’s have an efficient session!</vt:lpstr>
      <vt:lpstr>Journey Principles</vt:lpstr>
      <vt:lpstr>PowerPoint Presentation</vt:lpstr>
      <vt:lpstr>PowerPoint Presentation</vt:lpstr>
      <vt:lpstr>PowerPoint Presentation</vt:lpstr>
      <vt:lpstr>PowerPoint Presentation</vt:lpstr>
      <vt:lpstr>Proposal</vt:lpstr>
      <vt:lpstr>PowerPoint Presentation</vt:lpstr>
      <vt:lpstr>Proposal</vt:lpstr>
      <vt:lpstr>Decision 2</vt:lpstr>
      <vt:lpstr>Decision 2.1</vt:lpstr>
      <vt:lpstr>Proposal</vt:lpstr>
      <vt:lpstr>Decision 6</vt:lpstr>
      <vt:lpstr>Decision 7</vt:lpstr>
      <vt:lpstr>Decision 8</vt:lpstr>
      <vt:lpstr>Decision 9</vt:lpstr>
      <vt:lpstr>Decision 12</vt:lpstr>
      <vt:lpstr>Decision 1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Gareth Allott</cp:lastModifiedBy>
  <cp:revision>1</cp:revision>
  <dcterms:created xsi:type="dcterms:W3CDTF">2021-03-19T11:00:17Z</dcterms:created>
  <dcterms:modified xsi:type="dcterms:W3CDTF">2021-04-05T15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